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8.xml" ContentType="application/vnd.openxmlformats-officedocument.them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9.xml" ContentType="application/vnd.openxmlformats-officedocument.them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0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84" r:id="rId3"/>
    <p:sldMasterId id="2147483696" r:id="rId4"/>
    <p:sldMasterId id="2147483708" r:id="rId5"/>
    <p:sldMasterId id="2147483720" r:id="rId6"/>
    <p:sldMasterId id="2147483725" r:id="rId7"/>
    <p:sldMasterId id="2147483747" r:id="rId8"/>
    <p:sldMasterId id="2147483781" r:id="rId9"/>
    <p:sldMasterId id="2147483802" r:id="rId10"/>
    <p:sldMasterId id="2147483814" r:id="rId11"/>
  </p:sldMasterIdLst>
  <p:notesMasterIdLst>
    <p:notesMasterId r:id="rId25"/>
  </p:notesMasterIdLst>
  <p:sldIdLst>
    <p:sldId id="309" r:id="rId12"/>
    <p:sldId id="311" r:id="rId13"/>
    <p:sldId id="257" r:id="rId14"/>
    <p:sldId id="308" r:id="rId15"/>
    <p:sldId id="307" r:id="rId16"/>
    <p:sldId id="291" r:id="rId17"/>
    <p:sldId id="301" r:id="rId18"/>
    <p:sldId id="294" r:id="rId19"/>
    <p:sldId id="295" r:id="rId20"/>
    <p:sldId id="296" r:id="rId21"/>
    <p:sldId id="298" r:id="rId22"/>
    <p:sldId id="306" r:id="rId23"/>
    <p:sldId id="299" r:id="rId24"/>
  </p:sldIdLst>
  <p:sldSz cx="10693400" cy="7561263"/>
  <p:notesSz cx="6858000" cy="9144000"/>
  <p:defaultTextStyle>
    <a:defPPr>
      <a:defRPr lang="en-US"/>
    </a:defPPr>
    <a:lvl1pPr marL="0" algn="l" defTabSz="104287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436" algn="l" defTabSz="104287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872" algn="l" defTabSz="104287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308" algn="l" defTabSz="104287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744" algn="l" defTabSz="104287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179" algn="l" defTabSz="104287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616" algn="l" defTabSz="104287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052" algn="l" defTabSz="104287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1487" algn="l" defTabSz="104287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36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38" autoAdjust="0"/>
    <p:restoredTop sz="91577" autoAdjust="0"/>
  </p:normalViewPr>
  <p:slideViewPr>
    <p:cSldViewPr>
      <p:cViewPr>
        <p:scale>
          <a:sx n="100" d="100"/>
          <a:sy n="100" d="100"/>
        </p:scale>
        <p:origin x="-90" y="-1404"/>
      </p:cViewPr>
      <p:guideLst>
        <p:guide orient="horz" pos="2382"/>
        <p:guide pos="336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D1BD93-1663-4335-9BA3-1A7AB3F3BFE3}" type="datetimeFigureOut">
              <a:rPr lang="en-GB" smtClean="0"/>
              <a:pPr/>
              <a:t>06/02/201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04888" y="685800"/>
            <a:ext cx="48482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FB563C-F6BF-4649-B067-0A0415ABBFCD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697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3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57120" algn="l" defTabSz="91423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14239" algn="l" defTabSz="91423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371358" algn="l" defTabSz="91423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828477" algn="l" defTabSz="91423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285597" algn="l" defTabSz="91423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2716" algn="l" defTabSz="91423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199836" algn="l" defTabSz="91423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6954" algn="l" defTabSz="91423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04888" y="685800"/>
            <a:ext cx="48482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FB563C-F6BF-4649-B067-0A0415ABBFCD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78137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331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330.xml"/><Relationship Id="rId1" Type="http://schemas.openxmlformats.org/officeDocument/2006/relationships/tags" Target="../tags/tag329.xml"/><Relationship Id="rId6" Type="http://schemas.openxmlformats.org/officeDocument/2006/relationships/tags" Target="../tags/tag334.xml"/><Relationship Id="rId5" Type="http://schemas.openxmlformats.org/officeDocument/2006/relationships/tags" Target="../tags/tag333.xml"/><Relationship Id="rId4" Type="http://schemas.openxmlformats.org/officeDocument/2006/relationships/tags" Target="../tags/tag33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338.xml"/><Relationship Id="rId7" Type="http://schemas.openxmlformats.org/officeDocument/2006/relationships/tags" Target="../tags/tag342.xml"/><Relationship Id="rId2" Type="http://schemas.openxmlformats.org/officeDocument/2006/relationships/tags" Target="../tags/tag337.xml"/><Relationship Id="rId1" Type="http://schemas.openxmlformats.org/officeDocument/2006/relationships/tags" Target="../tags/tag336.xml"/><Relationship Id="rId6" Type="http://schemas.openxmlformats.org/officeDocument/2006/relationships/tags" Target="../tags/tag341.xml"/><Relationship Id="rId5" Type="http://schemas.openxmlformats.org/officeDocument/2006/relationships/tags" Target="../tags/tag340.xml"/><Relationship Id="rId4" Type="http://schemas.openxmlformats.org/officeDocument/2006/relationships/tags" Target="../tags/tag339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tags" Target="../tags/tag350.xml"/><Relationship Id="rId3" Type="http://schemas.openxmlformats.org/officeDocument/2006/relationships/tags" Target="../tags/tag345.xml"/><Relationship Id="rId7" Type="http://schemas.openxmlformats.org/officeDocument/2006/relationships/tags" Target="../tags/tag349.xml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6" Type="http://schemas.openxmlformats.org/officeDocument/2006/relationships/tags" Target="../tags/tag348.xml"/><Relationship Id="rId5" Type="http://schemas.openxmlformats.org/officeDocument/2006/relationships/tags" Target="../tags/tag347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346.xml"/><Relationship Id="rId9" Type="http://schemas.openxmlformats.org/officeDocument/2006/relationships/tags" Target="../tags/tag351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359.xml"/><Relationship Id="rId3" Type="http://schemas.openxmlformats.org/officeDocument/2006/relationships/tags" Target="../tags/tag354.xml"/><Relationship Id="rId7" Type="http://schemas.openxmlformats.org/officeDocument/2006/relationships/tags" Target="../tags/tag358.xml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6" Type="http://schemas.openxmlformats.org/officeDocument/2006/relationships/tags" Target="../tags/tag357.xml"/><Relationship Id="rId11" Type="http://schemas.openxmlformats.org/officeDocument/2006/relationships/slideMaster" Target="../slideMasters/slideMaster9.xml"/><Relationship Id="rId5" Type="http://schemas.openxmlformats.org/officeDocument/2006/relationships/tags" Target="../tags/tag356.xml"/><Relationship Id="rId10" Type="http://schemas.openxmlformats.org/officeDocument/2006/relationships/tags" Target="../tags/tag361.xml"/><Relationship Id="rId4" Type="http://schemas.openxmlformats.org/officeDocument/2006/relationships/tags" Target="../tags/tag355.xml"/><Relationship Id="rId9" Type="http://schemas.openxmlformats.org/officeDocument/2006/relationships/tags" Target="../tags/tag360.xml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tags" Target="../tags/tag369.xml"/><Relationship Id="rId3" Type="http://schemas.openxmlformats.org/officeDocument/2006/relationships/tags" Target="../tags/tag364.xml"/><Relationship Id="rId7" Type="http://schemas.openxmlformats.org/officeDocument/2006/relationships/tags" Target="../tags/tag368.xml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tags" Target="../tags/tag367.xml"/><Relationship Id="rId11" Type="http://schemas.openxmlformats.org/officeDocument/2006/relationships/slideMaster" Target="../slideMasters/slideMaster9.xml"/><Relationship Id="rId5" Type="http://schemas.openxmlformats.org/officeDocument/2006/relationships/tags" Target="../tags/tag366.xml"/><Relationship Id="rId10" Type="http://schemas.openxmlformats.org/officeDocument/2006/relationships/tags" Target="../tags/tag371.xml"/><Relationship Id="rId4" Type="http://schemas.openxmlformats.org/officeDocument/2006/relationships/tags" Target="../tags/tag365.xml"/><Relationship Id="rId9" Type="http://schemas.openxmlformats.org/officeDocument/2006/relationships/tags" Target="../tags/tag370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tags" Target="../tags/tag379.xml"/><Relationship Id="rId3" Type="http://schemas.openxmlformats.org/officeDocument/2006/relationships/tags" Target="../tags/tag374.xml"/><Relationship Id="rId7" Type="http://schemas.openxmlformats.org/officeDocument/2006/relationships/tags" Target="../tags/tag378.xml"/><Relationship Id="rId2" Type="http://schemas.openxmlformats.org/officeDocument/2006/relationships/tags" Target="../tags/tag373.xml"/><Relationship Id="rId1" Type="http://schemas.openxmlformats.org/officeDocument/2006/relationships/tags" Target="../tags/tag372.xml"/><Relationship Id="rId6" Type="http://schemas.openxmlformats.org/officeDocument/2006/relationships/tags" Target="../tags/tag377.xml"/><Relationship Id="rId11" Type="http://schemas.openxmlformats.org/officeDocument/2006/relationships/slideMaster" Target="../slideMasters/slideMaster9.xml"/><Relationship Id="rId5" Type="http://schemas.openxmlformats.org/officeDocument/2006/relationships/tags" Target="../tags/tag376.xml"/><Relationship Id="rId10" Type="http://schemas.openxmlformats.org/officeDocument/2006/relationships/tags" Target="../tags/tag381.xml"/><Relationship Id="rId4" Type="http://schemas.openxmlformats.org/officeDocument/2006/relationships/tags" Target="../tags/tag375.xml"/><Relationship Id="rId9" Type="http://schemas.openxmlformats.org/officeDocument/2006/relationships/tags" Target="../tags/tag380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tags" Target="../tags/tag389.xml"/><Relationship Id="rId3" Type="http://schemas.openxmlformats.org/officeDocument/2006/relationships/tags" Target="../tags/tag384.xml"/><Relationship Id="rId7" Type="http://schemas.openxmlformats.org/officeDocument/2006/relationships/tags" Target="../tags/tag388.xml"/><Relationship Id="rId12" Type="http://schemas.openxmlformats.org/officeDocument/2006/relationships/slideMaster" Target="../slideMasters/slideMaster9.xml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6" Type="http://schemas.openxmlformats.org/officeDocument/2006/relationships/tags" Target="../tags/tag387.xml"/><Relationship Id="rId11" Type="http://schemas.openxmlformats.org/officeDocument/2006/relationships/tags" Target="../tags/tag392.xml"/><Relationship Id="rId5" Type="http://schemas.openxmlformats.org/officeDocument/2006/relationships/tags" Target="../tags/tag386.xml"/><Relationship Id="rId10" Type="http://schemas.openxmlformats.org/officeDocument/2006/relationships/tags" Target="../tags/tag391.xml"/><Relationship Id="rId4" Type="http://schemas.openxmlformats.org/officeDocument/2006/relationships/tags" Target="../tags/tag385.xml"/><Relationship Id="rId9" Type="http://schemas.openxmlformats.org/officeDocument/2006/relationships/tags" Target="../tags/tag390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400.xml"/><Relationship Id="rId3" Type="http://schemas.openxmlformats.org/officeDocument/2006/relationships/tags" Target="../tags/tag395.xml"/><Relationship Id="rId7" Type="http://schemas.openxmlformats.org/officeDocument/2006/relationships/tags" Target="../tags/tag399.xml"/><Relationship Id="rId12" Type="http://schemas.openxmlformats.org/officeDocument/2006/relationships/slideMaster" Target="../slideMasters/slideMaster9.xml"/><Relationship Id="rId2" Type="http://schemas.openxmlformats.org/officeDocument/2006/relationships/tags" Target="../tags/tag394.xml"/><Relationship Id="rId1" Type="http://schemas.openxmlformats.org/officeDocument/2006/relationships/tags" Target="../tags/tag393.xml"/><Relationship Id="rId6" Type="http://schemas.openxmlformats.org/officeDocument/2006/relationships/tags" Target="../tags/tag398.xml"/><Relationship Id="rId11" Type="http://schemas.openxmlformats.org/officeDocument/2006/relationships/tags" Target="../tags/tag403.xml"/><Relationship Id="rId5" Type="http://schemas.openxmlformats.org/officeDocument/2006/relationships/tags" Target="../tags/tag397.xml"/><Relationship Id="rId10" Type="http://schemas.openxmlformats.org/officeDocument/2006/relationships/tags" Target="../tags/tag402.xml"/><Relationship Id="rId4" Type="http://schemas.openxmlformats.org/officeDocument/2006/relationships/tags" Target="../tags/tag396.xml"/><Relationship Id="rId9" Type="http://schemas.openxmlformats.org/officeDocument/2006/relationships/tags" Target="../tags/tag401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tags" Target="../tags/tag411.xml"/><Relationship Id="rId3" Type="http://schemas.openxmlformats.org/officeDocument/2006/relationships/tags" Target="../tags/tag406.xml"/><Relationship Id="rId7" Type="http://schemas.openxmlformats.org/officeDocument/2006/relationships/tags" Target="../tags/tag410.xml"/><Relationship Id="rId12" Type="http://schemas.openxmlformats.org/officeDocument/2006/relationships/slideMaster" Target="../slideMasters/slideMaster9.xml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tags" Target="../tags/tag409.xml"/><Relationship Id="rId11" Type="http://schemas.openxmlformats.org/officeDocument/2006/relationships/tags" Target="../tags/tag414.xml"/><Relationship Id="rId5" Type="http://schemas.openxmlformats.org/officeDocument/2006/relationships/tags" Target="../tags/tag408.xml"/><Relationship Id="rId10" Type="http://schemas.openxmlformats.org/officeDocument/2006/relationships/tags" Target="../tags/tag413.xml"/><Relationship Id="rId4" Type="http://schemas.openxmlformats.org/officeDocument/2006/relationships/tags" Target="../tags/tag407.xml"/><Relationship Id="rId9" Type="http://schemas.openxmlformats.org/officeDocument/2006/relationships/tags" Target="../tags/tag4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tags" Target="../tags/tag422.xml"/><Relationship Id="rId3" Type="http://schemas.openxmlformats.org/officeDocument/2006/relationships/tags" Target="../tags/tag417.xml"/><Relationship Id="rId7" Type="http://schemas.openxmlformats.org/officeDocument/2006/relationships/tags" Target="../tags/tag421.xml"/><Relationship Id="rId2" Type="http://schemas.openxmlformats.org/officeDocument/2006/relationships/tags" Target="../tags/tag416.xml"/><Relationship Id="rId1" Type="http://schemas.openxmlformats.org/officeDocument/2006/relationships/tags" Target="../tags/tag415.xml"/><Relationship Id="rId6" Type="http://schemas.openxmlformats.org/officeDocument/2006/relationships/tags" Target="../tags/tag420.xml"/><Relationship Id="rId5" Type="http://schemas.openxmlformats.org/officeDocument/2006/relationships/tags" Target="../tags/tag419.xml"/><Relationship Id="rId4" Type="http://schemas.openxmlformats.org/officeDocument/2006/relationships/tags" Target="../tags/tag418.xml"/><Relationship Id="rId9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430.xml"/><Relationship Id="rId3" Type="http://schemas.openxmlformats.org/officeDocument/2006/relationships/tags" Target="../tags/tag425.xml"/><Relationship Id="rId7" Type="http://schemas.openxmlformats.org/officeDocument/2006/relationships/tags" Target="../tags/tag429.xml"/><Relationship Id="rId2" Type="http://schemas.openxmlformats.org/officeDocument/2006/relationships/tags" Target="../tags/tag424.xml"/><Relationship Id="rId1" Type="http://schemas.openxmlformats.org/officeDocument/2006/relationships/tags" Target="../tags/tag423.xml"/><Relationship Id="rId6" Type="http://schemas.openxmlformats.org/officeDocument/2006/relationships/tags" Target="../tags/tag428.xml"/><Relationship Id="rId5" Type="http://schemas.openxmlformats.org/officeDocument/2006/relationships/tags" Target="../tags/tag427.xml"/><Relationship Id="rId4" Type="http://schemas.openxmlformats.org/officeDocument/2006/relationships/tags" Target="../tags/tag426.xml"/><Relationship Id="rId9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tags" Target="../tags/tag438.xml"/><Relationship Id="rId3" Type="http://schemas.openxmlformats.org/officeDocument/2006/relationships/tags" Target="../tags/tag433.xml"/><Relationship Id="rId7" Type="http://schemas.openxmlformats.org/officeDocument/2006/relationships/tags" Target="../tags/tag437.xml"/><Relationship Id="rId2" Type="http://schemas.openxmlformats.org/officeDocument/2006/relationships/tags" Target="../tags/tag432.xml"/><Relationship Id="rId1" Type="http://schemas.openxmlformats.org/officeDocument/2006/relationships/tags" Target="../tags/tag431.xml"/><Relationship Id="rId6" Type="http://schemas.openxmlformats.org/officeDocument/2006/relationships/tags" Target="../tags/tag436.xml"/><Relationship Id="rId5" Type="http://schemas.openxmlformats.org/officeDocument/2006/relationships/tags" Target="../tags/tag435.xml"/><Relationship Id="rId4" Type="http://schemas.openxmlformats.org/officeDocument/2006/relationships/tags" Target="../tags/tag434.xml"/><Relationship Id="rId9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tags" Target="../tags/tag446.xml"/><Relationship Id="rId3" Type="http://schemas.openxmlformats.org/officeDocument/2006/relationships/tags" Target="../tags/tag441.xml"/><Relationship Id="rId7" Type="http://schemas.openxmlformats.org/officeDocument/2006/relationships/tags" Target="../tags/tag445.xml"/><Relationship Id="rId2" Type="http://schemas.openxmlformats.org/officeDocument/2006/relationships/tags" Target="../tags/tag440.xml"/><Relationship Id="rId1" Type="http://schemas.openxmlformats.org/officeDocument/2006/relationships/tags" Target="../tags/tag439.xml"/><Relationship Id="rId6" Type="http://schemas.openxmlformats.org/officeDocument/2006/relationships/tags" Target="../tags/tag444.xml"/><Relationship Id="rId5" Type="http://schemas.openxmlformats.org/officeDocument/2006/relationships/tags" Target="../tags/tag443.xml"/><Relationship Id="rId4" Type="http://schemas.openxmlformats.org/officeDocument/2006/relationships/tags" Target="../tags/tag442.xml"/><Relationship Id="rId9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tags" Target="../tags/tag454.xml"/><Relationship Id="rId3" Type="http://schemas.openxmlformats.org/officeDocument/2006/relationships/tags" Target="../tags/tag449.xml"/><Relationship Id="rId7" Type="http://schemas.openxmlformats.org/officeDocument/2006/relationships/tags" Target="../tags/tag453.xml"/><Relationship Id="rId2" Type="http://schemas.openxmlformats.org/officeDocument/2006/relationships/tags" Target="../tags/tag448.xml"/><Relationship Id="rId1" Type="http://schemas.openxmlformats.org/officeDocument/2006/relationships/tags" Target="../tags/tag447.xml"/><Relationship Id="rId6" Type="http://schemas.openxmlformats.org/officeDocument/2006/relationships/tags" Target="../tags/tag452.xml"/><Relationship Id="rId5" Type="http://schemas.openxmlformats.org/officeDocument/2006/relationships/tags" Target="../tags/tag451.xml"/><Relationship Id="rId4" Type="http://schemas.openxmlformats.org/officeDocument/2006/relationships/tags" Target="../tags/tag450.xml"/><Relationship Id="rId9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457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456.xml"/><Relationship Id="rId1" Type="http://schemas.openxmlformats.org/officeDocument/2006/relationships/tags" Target="../tags/tag455.xml"/><Relationship Id="rId6" Type="http://schemas.openxmlformats.org/officeDocument/2006/relationships/tags" Target="../tags/tag460.xml"/><Relationship Id="rId5" Type="http://schemas.openxmlformats.org/officeDocument/2006/relationships/tags" Target="../tags/tag459.xml"/><Relationship Id="rId4" Type="http://schemas.openxmlformats.org/officeDocument/2006/relationships/tags" Target="../tags/tag45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463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462.xml"/><Relationship Id="rId1" Type="http://schemas.openxmlformats.org/officeDocument/2006/relationships/tags" Target="../tags/tag461.xml"/><Relationship Id="rId6" Type="http://schemas.openxmlformats.org/officeDocument/2006/relationships/tags" Target="../tags/tag466.xml"/><Relationship Id="rId5" Type="http://schemas.openxmlformats.org/officeDocument/2006/relationships/tags" Target="../tags/tag465.xml"/><Relationship Id="rId4" Type="http://schemas.openxmlformats.org/officeDocument/2006/relationships/tags" Target="../tags/tag464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tags" Target="../tags/tag474.xml"/><Relationship Id="rId3" Type="http://schemas.openxmlformats.org/officeDocument/2006/relationships/tags" Target="../tags/tag469.xml"/><Relationship Id="rId7" Type="http://schemas.openxmlformats.org/officeDocument/2006/relationships/tags" Target="../tags/tag473.xml"/><Relationship Id="rId2" Type="http://schemas.openxmlformats.org/officeDocument/2006/relationships/tags" Target="../tags/tag468.xml"/><Relationship Id="rId1" Type="http://schemas.openxmlformats.org/officeDocument/2006/relationships/tags" Target="../tags/tag467.xml"/><Relationship Id="rId6" Type="http://schemas.openxmlformats.org/officeDocument/2006/relationships/tags" Target="../tags/tag472.xml"/><Relationship Id="rId5" Type="http://schemas.openxmlformats.org/officeDocument/2006/relationships/tags" Target="../tags/tag471.xml"/><Relationship Id="rId4" Type="http://schemas.openxmlformats.org/officeDocument/2006/relationships/tags" Target="../tags/tag470.xml"/><Relationship Id="rId9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477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476.xml"/><Relationship Id="rId1" Type="http://schemas.openxmlformats.org/officeDocument/2006/relationships/tags" Target="../tags/tag475.xml"/><Relationship Id="rId6" Type="http://schemas.openxmlformats.org/officeDocument/2006/relationships/tags" Target="../tags/tag480.xml"/><Relationship Id="rId5" Type="http://schemas.openxmlformats.org/officeDocument/2006/relationships/tags" Target="../tags/tag479.xml"/><Relationship Id="rId4" Type="http://schemas.openxmlformats.org/officeDocument/2006/relationships/tags" Target="../tags/tag47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slideMaster" Target="../slideMasters/slideMaster7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slideMaster" Target="../slideMasters/slideMaster7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slideMaster" Target="../slideMasters/slideMaster7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slideMaster" Target="../slideMasters/slideMaster7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slideMaster" Target="../slideMasters/slideMaster7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0" Type="http://schemas.openxmlformats.org/officeDocument/2006/relationships/tags" Target="../tags/tag63.xml"/><Relationship Id="rId4" Type="http://schemas.openxmlformats.org/officeDocument/2006/relationships/tags" Target="../tags/tag57.xml"/><Relationship Id="rId9" Type="http://schemas.openxmlformats.org/officeDocument/2006/relationships/tags" Target="../tags/tag62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slideMaster" Target="../slideMasters/slideMaster7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0" Type="http://schemas.openxmlformats.org/officeDocument/2006/relationships/tags" Target="../tags/tag75.xml"/><Relationship Id="rId4" Type="http://schemas.openxmlformats.org/officeDocument/2006/relationships/tags" Target="../tags/tag69.xml"/><Relationship Id="rId9" Type="http://schemas.openxmlformats.org/officeDocument/2006/relationships/tags" Target="../tags/tag74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slideMaster" Target="../slideMasters/slideMaster7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5" Type="http://schemas.openxmlformats.org/officeDocument/2006/relationships/tags" Target="../tags/tag94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93.xml"/><Relationship Id="rId9" Type="http://schemas.openxmlformats.org/officeDocument/2006/relationships/tags" Target="../tags/tag98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102.xml"/><Relationship Id="rId9" Type="http://schemas.openxmlformats.org/officeDocument/2006/relationships/tags" Target="../tags/tag10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5" Type="http://schemas.openxmlformats.org/officeDocument/2006/relationships/tags" Target="../tags/tag112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111.xml"/><Relationship Id="rId9" Type="http://schemas.openxmlformats.org/officeDocument/2006/relationships/tags" Target="../tags/tag116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120.xml"/><Relationship Id="rId9" Type="http://schemas.openxmlformats.org/officeDocument/2006/relationships/tags" Target="../tags/tag125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5" Type="http://schemas.openxmlformats.org/officeDocument/2006/relationships/tags" Target="../tags/tag130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129.xml"/><Relationship Id="rId9" Type="http://schemas.openxmlformats.org/officeDocument/2006/relationships/tags" Target="../tags/tag13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5" Type="http://schemas.openxmlformats.org/officeDocument/2006/relationships/tags" Target="../tags/tag139.xml"/><Relationship Id="rId4" Type="http://schemas.openxmlformats.org/officeDocument/2006/relationships/tags" Target="../tags/tag138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5" Type="http://schemas.openxmlformats.org/officeDocument/2006/relationships/tags" Target="../tags/tag146.xml"/><Relationship Id="rId4" Type="http://schemas.openxmlformats.org/officeDocument/2006/relationships/tags" Target="../tags/tag145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tags" Target="../tags/tag154.xml"/><Relationship Id="rId5" Type="http://schemas.openxmlformats.org/officeDocument/2006/relationships/tags" Target="../tags/tag153.xml"/><Relationship Id="rId4" Type="http://schemas.openxmlformats.org/officeDocument/2006/relationships/tags" Target="../tags/tag152.xml"/><Relationship Id="rId9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4" Type="http://schemas.openxmlformats.org/officeDocument/2006/relationships/tags" Target="../tags/tag16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5" Type="http://schemas.openxmlformats.org/officeDocument/2006/relationships/tags" Target="../tags/tag174.xml"/><Relationship Id="rId4" Type="http://schemas.openxmlformats.org/officeDocument/2006/relationships/tags" Target="../tags/tag173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11" Type="http://schemas.openxmlformats.org/officeDocument/2006/relationships/slideMaster" Target="../slideMasters/slideMaster8.xml"/><Relationship Id="rId5" Type="http://schemas.openxmlformats.org/officeDocument/2006/relationships/tags" Target="../tags/tag181.xml"/><Relationship Id="rId10" Type="http://schemas.openxmlformats.org/officeDocument/2006/relationships/tags" Target="../tags/tag186.xml"/><Relationship Id="rId4" Type="http://schemas.openxmlformats.org/officeDocument/2006/relationships/tags" Target="../tags/tag180.xml"/><Relationship Id="rId9" Type="http://schemas.openxmlformats.org/officeDocument/2006/relationships/tags" Target="../tags/tag185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slideMaster" Target="../slideMasters/slideMaster8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11" Type="http://schemas.openxmlformats.org/officeDocument/2006/relationships/tags" Target="../tags/tag197.xml"/><Relationship Id="rId5" Type="http://schemas.openxmlformats.org/officeDocument/2006/relationships/tags" Target="../tags/tag191.xml"/><Relationship Id="rId10" Type="http://schemas.openxmlformats.org/officeDocument/2006/relationships/tags" Target="../tags/tag196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205.xml"/><Relationship Id="rId3" Type="http://schemas.openxmlformats.org/officeDocument/2006/relationships/tags" Target="../tags/tag200.xml"/><Relationship Id="rId7" Type="http://schemas.openxmlformats.org/officeDocument/2006/relationships/tags" Target="../tags/tag204.xml"/><Relationship Id="rId12" Type="http://schemas.openxmlformats.org/officeDocument/2006/relationships/slideMaster" Target="../slideMasters/slideMaster8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11" Type="http://schemas.openxmlformats.org/officeDocument/2006/relationships/tags" Target="../tags/tag208.xml"/><Relationship Id="rId5" Type="http://schemas.openxmlformats.org/officeDocument/2006/relationships/tags" Target="../tags/tag202.xml"/><Relationship Id="rId10" Type="http://schemas.openxmlformats.org/officeDocument/2006/relationships/tags" Target="../tags/tag207.xml"/><Relationship Id="rId4" Type="http://schemas.openxmlformats.org/officeDocument/2006/relationships/tags" Target="../tags/tag201.xml"/><Relationship Id="rId9" Type="http://schemas.openxmlformats.org/officeDocument/2006/relationships/tags" Target="../tags/tag206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slideMaster" Target="../slideMasters/slideMaster8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11" Type="http://schemas.openxmlformats.org/officeDocument/2006/relationships/tags" Target="../tags/tag219.xml"/><Relationship Id="rId5" Type="http://schemas.openxmlformats.org/officeDocument/2006/relationships/tags" Target="../tags/tag213.xml"/><Relationship Id="rId10" Type="http://schemas.openxmlformats.org/officeDocument/2006/relationships/tags" Target="../tags/tag218.xml"/><Relationship Id="rId4" Type="http://schemas.openxmlformats.org/officeDocument/2006/relationships/tags" Target="../tags/tag212.xml"/><Relationship Id="rId9" Type="http://schemas.openxmlformats.org/officeDocument/2006/relationships/tags" Target="../tags/tag217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13" Type="http://schemas.openxmlformats.org/officeDocument/2006/relationships/slideMaster" Target="../slideMasters/slideMaster8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12" Type="http://schemas.openxmlformats.org/officeDocument/2006/relationships/tags" Target="../tags/tag231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11" Type="http://schemas.openxmlformats.org/officeDocument/2006/relationships/tags" Target="../tags/tag230.xml"/><Relationship Id="rId5" Type="http://schemas.openxmlformats.org/officeDocument/2006/relationships/tags" Target="../tags/tag224.xml"/><Relationship Id="rId10" Type="http://schemas.openxmlformats.org/officeDocument/2006/relationships/tags" Target="../tags/tag229.xml"/><Relationship Id="rId4" Type="http://schemas.openxmlformats.org/officeDocument/2006/relationships/tags" Target="../tags/tag223.xml"/><Relationship Id="rId9" Type="http://schemas.openxmlformats.org/officeDocument/2006/relationships/tags" Target="../tags/tag228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239.xml"/><Relationship Id="rId13" Type="http://schemas.openxmlformats.org/officeDocument/2006/relationships/slideMaster" Target="../slideMasters/slideMaster8.xml"/><Relationship Id="rId3" Type="http://schemas.openxmlformats.org/officeDocument/2006/relationships/tags" Target="../tags/tag234.xml"/><Relationship Id="rId7" Type="http://schemas.openxmlformats.org/officeDocument/2006/relationships/tags" Target="../tags/tag238.xml"/><Relationship Id="rId12" Type="http://schemas.openxmlformats.org/officeDocument/2006/relationships/tags" Target="../tags/tag243.xml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tags" Target="../tags/tag237.xml"/><Relationship Id="rId11" Type="http://schemas.openxmlformats.org/officeDocument/2006/relationships/tags" Target="../tags/tag242.xml"/><Relationship Id="rId5" Type="http://schemas.openxmlformats.org/officeDocument/2006/relationships/tags" Target="../tags/tag236.xml"/><Relationship Id="rId10" Type="http://schemas.openxmlformats.org/officeDocument/2006/relationships/tags" Target="../tags/tag241.xml"/><Relationship Id="rId4" Type="http://schemas.openxmlformats.org/officeDocument/2006/relationships/tags" Target="../tags/tag235.xml"/><Relationship Id="rId9" Type="http://schemas.openxmlformats.org/officeDocument/2006/relationships/tags" Target="../tags/tag240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13" Type="http://schemas.openxmlformats.org/officeDocument/2006/relationships/slideMaster" Target="../slideMasters/slideMaster8.xml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12" Type="http://schemas.openxmlformats.org/officeDocument/2006/relationships/tags" Target="../tags/tag255.xml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tags" Target="../tags/tag249.xml"/><Relationship Id="rId11" Type="http://schemas.openxmlformats.org/officeDocument/2006/relationships/tags" Target="../tags/tag254.xml"/><Relationship Id="rId5" Type="http://schemas.openxmlformats.org/officeDocument/2006/relationships/tags" Target="../tags/tag248.xml"/><Relationship Id="rId10" Type="http://schemas.openxmlformats.org/officeDocument/2006/relationships/tags" Target="../tags/tag253.xml"/><Relationship Id="rId4" Type="http://schemas.openxmlformats.org/officeDocument/2006/relationships/tags" Target="../tags/tag247.xml"/><Relationship Id="rId9" Type="http://schemas.openxmlformats.org/officeDocument/2006/relationships/tags" Target="../tags/tag252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259.xml"/><Relationship Id="rId9" Type="http://schemas.openxmlformats.org/officeDocument/2006/relationships/tags" Target="../tags/tag26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tags" Target="../tags/tag270.xml"/><Relationship Id="rId5" Type="http://schemas.openxmlformats.org/officeDocument/2006/relationships/tags" Target="../tags/tag269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268.xml"/><Relationship Id="rId9" Type="http://schemas.openxmlformats.org/officeDocument/2006/relationships/tags" Target="../tags/tag273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tags" Target="../tags/tag281.xml"/><Relationship Id="rId3" Type="http://schemas.openxmlformats.org/officeDocument/2006/relationships/tags" Target="../tags/tag276.xml"/><Relationship Id="rId7" Type="http://schemas.openxmlformats.org/officeDocument/2006/relationships/tags" Target="../tags/tag280.xml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6" Type="http://schemas.openxmlformats.org/officeDocument/2006/relationships/tags" Target="../tags/tag279.xml"/><Relationship Id="rId5" Type="http://schemas.openxmlformats.org/officeDocument/2006/relationships/tags" Target="../tags/tag278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277.xml"/><Relationship Id="rId9" Type="http://schemas.openxmlformats.org/officeDocument/2006/relationships/tags" Target="../tags/tag282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tags" Target="../tags/tag290.xml"/><Relationship Id="rId3" Type="http://schemas.openxmlformats.org/officeDocument/2006/relationships/tags" Target="../tags/tag285.xml"/><Relationship Id="rId7" Type="http://schemas.openxmlformats.org/officeDocument/2006/relationships/tags" Target="../tags/tag289.xml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6" Type="http://schemas.openxmlformats.org/officeDocument/2006/relationships/tags" Target="../tags/tag288.xml"/><Relationship Id="rId5" Type="http://schemas.openxmlformats.org/officeDocument/2006/relationships/tags" Target="../tags/tag287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286.xml"/><Relationship Id="rId9" Type="http://schemas.openxmlformats.org/officeDocument/2006/relationships/tags" Target="../tags/tag291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tags" Target="../tags/tag299.xml"/><Relationship Id="rId3" Type="http://schemas.openxmlformats.org/officeDocument/2006/relationships/tags" Target="../tags/tag294.xml"/><Relationship Id="rId7" Type="http://schemas.openxmlformats.org/officeDocument/2006/relationships/tags" Target="../tags/tag298.xml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6" Type="http://schemas.openxmlformats.org/officeDocument/2006/relationships/tags" Target="../tags/tag297.xml"/><Relationship Id="rId5" Type="http://schemas.openxmlformats.org/officeDocument/2006/relationships/tags" Target="../tags/tag296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295.xml"/><Relationship Id="rId9" Type="http://schemas.openxmlformats.org/officeDocument/2006/relationships/tags" Target="../tags/tag30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303.xml"/><Relationship Id="rId7" Type="http://schemas.openxmlformats.org/officeDocument/2006/relationships/tags" Target="../tags/tag307.xml"/><Relationship Id="rId2" Type="http://schemas.openxmlformats.org/officeDocument/2006/relationships/tags" Target="../tags/tag302.xml"/><Relationship Id="rId1" Type="http://schemas.openxmlformats.org/officeDocument/2006/relationships/tags" Target="../tags/tag301.xml"/><Relationship Id="rId6" Type="http://schemas.openxmlformats.org/officeDocument/2006/relationships/tags" Target="../tags/tag306.xml"/><Relationship Id="rId5" Type="http://schemas.openxmlformats.org/officeDocument/2006/relationships/tags" Target="../tags/tag305.xml"/><Relationship Id="rId4" Type="http://schemas.openxmlformats.org/officeDocument/2006/relationships/tags" Target="../tags/tag304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310.xml"/><Relationship Id="rId7" Type="http://schemas.openxmlformats.org/officeDocument/2006/relationships/tags" Target="../tags/tag314.xml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6" Type="http://schemas.openxmlformats.org/officeDocument/2006/relationships/tags" Target="../tags/tag313.xml"/><Relationship Id="rId5" Type="http://schemas.openxmlformats.org/officeDocument/2006/relationships/tags" Target="../tags/tag312.xml"/><Relationship Id="rId4" Type="http://schemas.openxmlformats.org/officeDocument/2006/relationships/tags" Target="../tags/tag311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tags" Target="../tags/tag322.xml"/><Relationship Id="rId3" Type="http://schemas.openxmlformats.org/officeDocument/2006/relationships/tags" Target="../tags/tag317.xml"/><Relationship Id="rId7" Type="http://schemas.openxmlformats.org/officeDocument/2006/relationships/tags" Target="../tags/tag321.xml"/><Relationship Id="rId2" Type="http://schemas.openxmlformats.org/officeDocument/2006/relationships/tags" Target="../tags/tag316.xml"/><Relationship Id="rId1" Type="http://schemas.openxmlformats.org/officeDocument/2006/relationships/tags" Target="../tags/tag315.xml"/><Relationship Id="rId6" Type="http://schemas.openxmlformats.org/officeDocument/2006/relationships/tags" Target="../tags/tag320.xml"/><Relationship Id="rId5" Type="http://schemas.openxmlformats.org/officeDocument/2006/relationships/tags" Target="../tags/tag319.xml"/><Relationship Id="rId4" Type="http://schemas.openxmlformats.org/officeDocument/2006/relationships/tags" Target="../tags/tag318.xml"/><Relationship Id="rId9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325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tags" Target="../tags/tag328.xml"/><Relationship Id="rId5" Type="http://schemas.openxmlformats.org/officeDocument/2006/relationships/tags" Target="../tags/tag327.xml"/><Relationship Id="rId4" Type="http://schemas.openxmlformats.org/officeDocument/2006/relationships/tags" Target="../tags/tag32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2005" y="2348895"/>
            <a:ext cx="9089390" cy="16207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4010" y="4284718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/>
              <a:pPr/>
              <a:t>06-Feb-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1204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/>
              <a:pPr/>
              <a:t>06-Feb-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601147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 userDrawn="1"/>
        </p:nvGrpSpPr>
        <p:grpSpPr>
          <a:xfrm>
            <a:off x="1201730" y="0"/>
            <a:ext cx="9491670" cy="7119411"/>
            <a:chOff x="1130368" y="0"/>
            <a:chExt cx="8928032" cy="7318210"/>
          </a:xfrm>
        </p:grpSpPr>
        <p:grpSp>
          <p:nvGrpSpPr>
            <p:cNvPr id="5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3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24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6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2187287" y="818396"/>
            <a:ext cx="65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1018644"/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186670" y="1226781"/>
            <a:ext cx="6318826" cy="479550"/>
          </a:xfrm>
        </p:spPr>
        <p:txBody>
          <a:bodyPr vert="horz" lIns="0" tIns="0" rIns="0" bIns="35994" rtlCol="0" anchor="t" anchorCtr="0">
            <a:spAutoFit/>
          </a:bodyPr>
          <a:lstStyle>
            <a:lvl1pPr algn="l" defTabSz="101864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2186670" y="1704991"/>
            <a:ext cx="6318826" cy="44319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5093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63835" y="3629407"/>
            <a:ext cx="130265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644"/>
            <a:endParaRPr lang="en-US" sz="10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2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63835" y="3931857"/>
            <a:ext cx="1458191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36" rtlCol="0" anchor="t" anchorCtr="0">
            <a:spAutoFit/>
          </a:bodyPr>
          <a:lstStyle/>
          <a:p>
            <a:pPr defTabSz="1018644"/>
            <a:endParaRPr lang="en-US" sz="10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2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63835" y="4225411"/>
            <a:ext cx="130265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644"/>
            <a:endParaRPr lang="en-US" sz="10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17" name="Frame Line"/>
          <p:cNvCxnSpPr/>
          <p:nvPr userDrawn="1"/>
        </p:nvCxnSpPr>
        <p:spPr bwMode="black">
          <a:xfrm flipV="1">
            <a:off x="405054" y="3495972"/>
            <a:ext cx="1458191" cy="140088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783" y="756126"/>
            <a:ext cx="9445837" cy="100816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5173578" y="-4055904"/>
            <a:ext cx="168027" cy="962406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PwCFirm"/>
          <p:cNvSpPr txBox="1"/>
          <p:nvPr userDrawn="1"/>
        </p:nvSpPr>
        <p:spPr>
          <a:xfrm>
            <a:off x="623783" y="7141195"/>
            <a:ext cx="3029797" cy="168029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305594" defTabSz="1018644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</a:rPr>
              <a:t>PwC</a:t>
            </a: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 userDrawn="1"/>
        </p:nvGrpSpPr>
        <p:grpSpPr>
          <a:xfrm>
            <a:off x="1201731" y="0"/>
            <a:ext cx="9491670" cy="7119411"/>
            <a:chOff x="1130368" y="0"/>
            <a:chExt cx="8928031" cy="7318210"/>
          </a:xfrm>
        </p:grpSpPr>
        <p:grpSp>
          <p:nvGrpSpPr>
            <p:cNvPr id="5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2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1"/>
            </p:custDataLst>
          </p:nvPr>
        </p:nvSpPr>
        <p:spPr bwMode="white">
          <a:xfrm>
            <a:off x="2186670" y="2146243"/>
            <a:ext cx="6318826" cy="1329595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509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0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4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Subtitle (use this layout if subtitle needs three lines and your Title needs two)</a:t>
            </a: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186670" y="1226781"/>
            <a:ext cx="6318826" cy="889561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5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 smtClean="0"/>
              <a:t>Report Title</a:t>
            </a:r>
            <a:endParaRPr lang="en-GB" noProof="0" dirty="0"/>
          </a:p>
        </p:txBody>
      </p:sp>
      <p:sp>
        <p:nvSpPr>
          <p:cNvPr id="43" name="Confidentiality stamp"/>
          <p:cNvSpPr txBox="1"/>
          <p:nvPr userDrawn="1">
            <p:custDataLst>
              <p:tags r:id="rId3"/>
            </p:custDataLst>
          </p:nvPr>
        </p:nvSpPr>
        <p:spPr>
          <a:xfrm>
            <a:off x="563835" y="3629407"/>
            <a:ext cx="1302651" cy="1527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532"/>
            <a:r>
              <a:rPr lang="en-GB" sz="1000" i="1" dirty="0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2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563835" y="3931857"/>
            <a:ext cx="1458191" cy="1527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r>
              <a:rPr lang="en-GB" sz="1000" b="1" i="1" dirty="0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1" name="Report Date"/>
          <p:cNvSpPr txBox="1"/>
          <p:nvPr userDrawn="1">
            <p:custDataLst>
              <p:tags r:id="rId5"/>
            </p:custDataLst>
          </p:nvPr>
        </p:nvSpPr>
        <p:spPr bwMode="white">
          <a:xfrm>
            <a:off x="563835" y="4225413"/>
            <a:ext cx="1302651" cy="1527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532"/>
            <a:r>
              <a:rPr lang="en-GB" sz="1000" i="1" dirty="0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3" name="Descriptor"/>
          <p:cNvSpPr txBox="1"/>
          <p:nvPr userDrawn="1">
            <p:custDataLst>
              <p:tags r:id="rId6"/>
            </p:custDataLst>
          </p:nvPr>
        </p:nvSpPr>
        <p:spPr bwMode="white">
          <a:xfrm>
            <a:off x="2187287" y="818395"/>
            <a:ext cx="35266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1018532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</a:p>
        </p:txBody>
      </p:sp>
      <p:cxnSp>
        <p:nvCxnSpPr>
          <p:cNvPr id="25" name="Frame Line"/>
          <p:cNvCxnSpPr/>
          <p:nvPr userDrawn="1"/>
        </p:nvCxnSpPr>
        <p:spPr>
          <a:xfrm flipV="1">
            <a:off x="405054" y="3496713"/>
            <a:ext cx="1458191" cy="150577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Cover image"/>
          <p:cNvSpPr txBox="1"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2024560" y="3492452"/>
            <a:ext cx="7144167" cy="311346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560" defTabSz="1018532">
              <a:spcAft>
                <a:spcPts val="1003"/>
              </a:spcAft>
            </a:pPr>
            <a:endParaRPr lang="en-GB" sz="2200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5" y="2152736"/>
            <a:ext cx="9565732" cy="4296577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 dirty="0" smtClean="0"/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405054" y="1037822"/>
            <a:ext cx="9721275" cy="169015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532">
              <a:lnSpc>
                <a:spcPts val="1000"/>
              </a:lnSpc>
            </a:pPr>
            <a:r>
              <a:rPr lang="en-GB" sz="9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9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777985" y="7089798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532">
              <a:lnSpc>
                <a:spcPts val="1000"/>
              </a:lnSpc>
            </a:pPr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563834" y="827292"/>
            <a:ext cx="5832764" cy="1334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507765" y="520590"/>
            <a:ext cx="6610465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532"/>
            <a:r>
              <a:rPr lang="en-GB" sz="900" dirty="0" smtClean="0">
                <a:solidFill>
                  <a:srgbClr val="000000"/>
                </a:solidFill>
              </a:rPr>
              <a:t>9/26/2012 C:\Documents and Settings\oabuhantas001\Desktop\revised </a:t>
            </a:r>
            <a:r>
              <a:rPr lang="en-GB" sz="900" dirty="0" err="1" smtClean="0">
                <a:solidFill>
                  <a:srgbClr val="000000"/>
                </a:solidFill>
              </a:rPr>
              <a:t>EQ_Technical</a:t>
            </a:r>
            <a:r>
              <a:rPr lang="en-GB" sz="900" dirty="0" smtClean="0">
                <a:solidFill>
                  <a:srgbClr val="000000"/>
                </a:solidFill>
              </a:rPr>
              <a:t> Proposal250912_r.pptx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751995" y="782815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532"/>
            <a:r>
              <a:rPr lang="en-GB" sz="1300" dirty="0" smtClean="0">
                <a:solidFill>
                  <a:srgbClr val="000000"/>
                </a:solidFill>
              </a:rPr>
              <a:t>Draft</a:t>
            </a:r>
            <a:endParaRPr lang="en-GB" sz="1300" dirty="0">
              <a:solidFill>
                <a:srgbClr val="000000"/>
              </a:solidFill>
            </a:endParaRPr>
          </a:p>
        </p:txBody>
      </p:sp>
      <p:sp>
        <p:nvSpPr>
          <p:cNvPr id="18" name="Executive Summary"/>
          <p:cNvSpPr txBox="1"/>
          <p:nvPr userDrawn="1">
            <p:custDataLst>
              <p:tags r:id="rId7"/>
            </p:custDataLst>
          </p:nvPr>
        </p:nvSpPr>
        <p:spPr>
          <a:xfrm>
            <a:off x="563833" y="6742868"/>
            <a:ext cx="2109518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18532">
              <a:lnSpc>
                <a:spcPts val="1599"/>
              </a:lnSpc>
            </a:pPr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19" name="Presentation 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71428" y="6813665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Insert banner statement he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4" y="2152736"/>
            <a:ext cx="4705096" cy="4296577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470" y="2152736"/>
            <a:ext cx="4705096" cy="4296577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563834" y="827292"/>
            <a:ext cx="5832764" cy="1334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507765" y="520590"/>
            <a:ext cx="6610465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532"/>
            <a:r>
              <a:rPr lang="en-GB" sz="900" dirty="0" smtClean="0">
                <a:solidFill>
                  <a:srgbClr val="000000"/>
                </a:solidFill>
              </a:rPr>
              <a:t>9/26/2012 C:\Documents and Settings\oabuhantas001\Desktop\revised </a:t>
            </a:r>
            <a:r>
              <a:rPr lang="en-GB" sz="900" dirty="0" err="1" smtClean="0">
                <a:solidFill>
                  <a:srgbClr val="000000"/>
                </a:solidFill>
              </a:rPr>
              <a:t>EQ_Technical</a:t>
            </a:r>
            <a:r>
              <a:rPr lang="en-GB" sz="900" dirty="0" smtClean="0">
                <a:solidFill>
                  <a:srgbClr val="000000"/>
                </a:solidFill>
              </a:rPr>
              <a:t> Proposal250912_r.pptx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751995" y="782815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532"/>
            <a:r>
              <a:rPr lang="en-GB" sz="1300" dirty="0" smtClean="0">
                <a:solidFill>
                  <a:srgbClr val="000000"/>
                </a:solidFill>
              </a:rPr>
              <a:t>Draft</a:t>
            </a:r>
            <a:endParaRPr lang="en-GB" sz="1300" dirty="0">
              <a:solidFill>
                <a:srgbClr val="000000"/>
              </a:solidFill>
            </a:endParaRPr>
          </a:p>
        </p:txBody>
      </p:sp>
      <p:sp>
        <p:nvSpPr>
          <p:cNvPr id="38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532">
              <a:lnSpc>
                <a:spcPts val="1000"/>
              </a:lnSpc>
            </a:pPr>
            <a:r>
              <a:rPr lang="en-GB" sz="9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9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9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9777985" y="7089798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532">
              <a:lnSpc>
                <a:spcPts val="1000"/>
              </a:lnSpc>
            </a:pPr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40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41" name="Executive Summary"/>
          <p:cNvSpPr txBox="1"/>
          <p:nvPr userDrawn="1">
            <p:custDataLst>
              <p:tags r:id="rId8"/>
            </p:custDataLst>
          </p:nvPr>
        </p:nvSpPr>
        <p:spPr>
          <a:xfrm>
            <a:off x="563833" y="6742868"/>
            <a:ext cx="2109518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18532">
              <a:lnSpc>
                <a:spcPts val="1599"/>
              </a:lnSpc>
            </a:pPr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43" name="Presentation 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71428" y="6813665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405054" y="1037822"/>
            <a:ext cx="9721275" cy="169015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Insert banner statement he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6" y="2152736"/>
            <a:ext cx="6318826" cy="4296577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7047925" y="2152736"/>
            <a:ext cx="3081643" cy="4296577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563834" y="827292"/>
            <a:ext cx="5832764" cy="1334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507765" y="520590"/>
            <a:ext cx="6610465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532"/>
            <a:r>
              <a:rPr lang="en-GB" sz="900" dirty="0" smtClean="0">
                <a:solidFill>
                  <a:srgbClr val="000000"/>
                </a:solidFill>
              </a:rPr>
              <a:t>9/26/2012 C:\Documents and Settings\oabuhantas001\Desktop\revised </a:t>
            </a:r>
            <a:r>
              <a:rPr lang="en-GB" sz="900" dirty="0" err="1" smtClean="0">
                <a:solidFill>
                  <a:srgbClr val="000000"/>
                </a:solidFill>
              </a:rPr>
              <a:t>EQ_Technical</a:t>
            </a:r>
            <a:r>
              <a:rPr lang="en-GB" sz="900" dirty="0" smtClean="0">
                <a:solidFill>
                  <a:srgbClr val="000000"/>
                </a:solidFill>
              </a:rPr>
              <a:t> Proposal250912_r.pptx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751995" y="782815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532"/>
            <a:r>
              <a:rPr lang="en-GB" sz="1300" dirty="0" smtClean="0">
                <a:solidFill>
                  <a:srgbClr val="000000"/>
                </a:solidFill>
              </a:rPr>
              <a:t>Draft</a:t>
            </a:r>
            <a:endParaRPr lang="en-GB" sz="1300" dirty="0">
              <a:solidFill>
                <a:srgbClr val="000000"/>
              </a:solidFill>
            </a:endParaRPr>
          </a:p>
        </p:txBody>
      </p:sp>
      <p:sp>
        <p:nvSpPr>
          <p:cNvPr id="25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532">
              <a:lnSpc>
                <a:spcPts val="1000"/>
              </a:lnSpc>
            </a:pPr>
            <a:r>
              <a:rPr lang="en-GB" sz="9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9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6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9777985" y="7089798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532">
              <a:lnSpc>
                <a:spcPts val="1000"/>
              </a:lnSpc>
            </a:pPr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7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9" name="Executive Summary"/>
          <p:cNvSpPr txBox="1"/>
          <p:nvPr userDrawn="1">
            <p:custDataLst>
              <p:tags r:id="rId8"/>
            </p:custDataLst>
          </p:nvPr>
        </p:nvSpPr>
        <p:spPr>
          <a:xfrm>
            <a:off x="563833" y="6742868"/>
            <a:ext cx="2109518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18532">
              <a:lnSpc>
                <a:spcPts val="1599"/>
              </a:lnSpc>
            </a:pPr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31" name="Presentation 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71428" y="6813665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405054" y="1037822"/>
            <a:ext cx="9721275" cy="169015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Insert banner statement he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5" y="2152736"/>
            <a:ext cx="3081643" cy="4296577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810740" y="2152736"/>
            <a:ext cx="6318826" cy="4296577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563834" y="827292"/>
            <a:ext cx="5832764" cy="1334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507765" y="520590"/>
            <a:ext cx="6610465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532"/>
            <a:r>
              <a:rPr lang="en-GB" sz="900" dirty="0" smtClean="0">
                <a:solidFill>
                  <a:srgbClr val="000000"/>
                </a:solidFill>
              </a:rPr>
              <a:t>9/26/2012 C:\Documents and Settings\oabuhantas001\Desktop\revised </a:t>
            </a:r>
            <a:r>
              <a:rPr lang="en-GB" sz="900" dirty="0" err="1" smtClean="0">
                <a:solidFill>
                  <a:srgbClr val="000000"/>
                </a:solidFill>
              </a:rPr>
              <a:t>EQ_Technical</a:t>
            </a:r>
            <a:r>
              <a:rPr lang="en-GB" sz="900" dirty="0" smtClean="0">
                <a:solidFill>
                  <a:srgbClr val="000000"/>
                </a:solidFill>
              </a:rPr>
              <a:t> Proposal250912_r.pptx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24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751995" y="782815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532"/>
            <a:r>
              <a:rPr lang="en-GB" sz="1300" dirty="0" smtClean="0">
                <a:solidFill>
                  <a:srgbClr val="000000"/>
                </a:solidFill>
              </a:rPr>
              <a:t>Draft</a:t>
            </a:r>
            <a:endParaRPr lang="en-GB" sz="1300" dirty="0">
              <a:solidFill>
                <a:srgbClr val="000000"/>
              </a:solidFill>
            </a:endParaRPr>
          </a:p>
        </p:txBody>
      </p:sp>
      <p:sp>
        <p:nvSpPr>
          <p:cNvPr id="25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532">
              <a:lnSpc>
                <a:spcPts val="1000"/>
              </a:lnSpc>
            </a:pPr>
            <a:r>
              <a:rPr lang="en-GB" sz="9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9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6" name="Page Number"/>
          <p:cNvSpPr txBox="1"/>
          <p:nvPr userDrawn="1">
            <p:custDataLst>
              <p:tags r:id="rId6"/>
            </p:custDataLst>
          </p:nvPr>
        </p:nvSpPr>
        <p:spPr>
          <a:xfrm>
            <a:off x="9777985" y="7089798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532">
              <a:lnSpc>
                <a:spcPts val="1000"/>
              </a:lnSpc>
            </a:pPr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7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9" name="Executive Summary"/>
          <p:cNvSpPr txBox="1"/>
          <p:nvPr userDrawn="1">
            <p:custDataLst>
              <p:tags r:id="rId8"/>
            </p:custDataLst>
          </p:nvPr>
        </p:nvSpPr>
        <p:spPr>
          <a:xfrm>
            <a:off x="563833" y="6742868"/>
            <a:ext cx="2109518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18532">
              <a:lnSpc>
                <a:spcPts val="1599"/>
              </a:lnSpc>
            </a:pPr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31" name="Presentation 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71428" y="6813665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405054" y="1037822"/>
            <a:ext cx="9721275" cy="169015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Insert banner statement he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4" y="2152738"/>
            <a:ext cx="4705096" cy="2072676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63834" y="4376639"/>
            <a:ext cx="4705096" cy="2072676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424470" y="2152736"/>
            <a:ext cx="4705096" cy="4296577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 dirty="0"/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Insert banner statement here</a:t>
            </a:r>
            <a:endParaRPr lang="en-GB" dirty="0"/>
          </a:p>
        </p:txBody>
      </p:sp>
      <p:sp>
        <p:nvSpPr>
          <p:cNvPr id="19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63834" y="827292"/>
            <a:ext cx="5832764" cy="1334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507765" y="520590"/>
            <a:ext cx="6610465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532"/>
            <a:r>
              <a:rPr lang="en-GB" sz="900" dirty="0" smtClean="0">
                <a:solidFill>
                  <a:srgbClr val="000000"/>
                </a:solidFill>
              </a:rPr>
              <a:t>9/26/2012 C:\Documents and Settings\oabuhantas001\Desktop\revised </a:t>
            </a:r>
            <a:r>
              <a:rPr lang="en-GB" sz="900" dirty="0" err="1" smtClean="0">
                <a:solidFill>
                  <a:srgbClr val="000000"/>
                </a:solidFill>
              </a:rPr>
              <a:t>EQ_Technical</a:t>
            </a:r>
            <a:r>
              <a:rPr lang="en-GB" sz="900" dirty="0" smtClean="0">
                <a:solidFill>
                  <a:srgbClr val="000000"/>
                </a:solidFill>
              </a:rPr>
              <a:t> Proposal250912_r.pptx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26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751995" y="782815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532"/>
            <a:r>
              <a:rPr lang="en-GB" sz="1300" dirty="0" smtClean="0">
                <a:solidFill>
                  <a:srgbClr val="000000"/>
                </a:solidFill>
              </a:rPr>
              <a:t>Draft</a:t>
            </a:r>
            <a:endParaRPr lang="en-GB" sz="1300" dirty="0">
              <a:solidFill>
                <a:srgbClr val="000000"/>
              </a:solidFill>
            </a:endParaRPr>
          </a:p>
        </p:txBody>
      </p:sp>
      <p:sp>
        <p:nvSpPr>
          <p:cNvPr id="27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532">
              <a:lnSpc>
                <a:spcPts val="1000"/>
              </a:lnSpc>
            </a:pPr>
            <a:r>
              <a:rPr lang="en-GB" sz="9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9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9777985" y="7089798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532">
              <a:lnSpc>
                <a:spcPts val="1000"/>
              </a:lnSpc>
            </a:pPr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30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31" name="Executive Summary"/>
          <p:cNvSpPr txBox="1"/>
          <p:nvPr userDrawn="1">
            <p:custDataLst>
              <p:tags r:id="rId9"/>
            </p:custDataLst>
          </p:nvPr>
        </p:nvSpPr>
        <p:spPr>
          <a:xfrm>
            <a:off x="563833" y="6742868"/>
            <a:ext cx="2109518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18532">
              <a:lnSpc>
                <a:spcPts val="1599"/>
              </a:lnSpc>
            </a:pPr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43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571428" y="6813665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44" name="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cxnSp>
        <p:nvCxnSpPr>
          <p:cNvPr id="45" name="Frame Line"/>
          <p:cNvCxnSpPr/>
          <p:nvPr userDrawn="1"/>
        </p:nvCxnSpPr>
        <p:spPr>
          <a:xfrm flipV="1">
            <a:off x="405054" y="1037822"/>
            <a:ext cx="9721275" cy="169015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smtClean="0"/>
              <a:t>Insert banner statement her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63834" y="2152736"/>
            <a:ext cx="4705096" cy="4296577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424470" y="2152738"/>
            <a:ext cx="4705096" cy="2072676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424470" y="4376639"/>
            <a:ext cx="4705096" cy="2072676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5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63834" y="827292"/>
            <a:ext cx="5832764" cy="1334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507765" y="520590"/>
            <a:ext cx="6610465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532"/>
            <a:r>
              <a:rPr lang="en-GB" sz="900" dirty="0" smtClean="0">
                <a:solidFill>
                  <a:srgbClr val="000000"/>
                </a:solidFill>
              </a:rPr>
              <a:t>9/26/2012 C:\Documents and Settings\oabuhantas001\Desktop\revised </a:t>
            </a:r>
            <a:r>
              <a:rPr lang="en-GB" sz="900" dirty="0" err="1" smtClean="0">
                <a:solidFill>
                  <a:srgbClr val="000000"/>
                </a:solidFill>
              </a:rPr>
              <a:t>EQ_Technical</a:t>
            </a:r>
            <a:r>
              <a:rPr lang="en-GB" sz="900" dirty="0" smtClean="0">
                <a:solidFill>
                  <a:srgbClr val="000000"/>
                </a:solidFill>
              </a:rPr>
              <a:t> Proposal250912_r.pptx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751995" y="782815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532"/>
            <a:r>
              <a:rPr lang="en-GB" sz="1300" dirty="0" smtClean="0">
                <a:solidFill>
                  <a:srgbClr val="000000"/>
                </a:solidFill>
              </a:rPr>
              <a:t>Draft</a:t>
            </a:r>
            <a:endParaRPr lang="en-GB" sz="1300" dirty="0">
              <a:solidFill>
                <a:srgbClr val="000000"/>
              </a:solidFill>
            </a:endParaRPr>
          </a:p>
        </p:txBody>
      </p:sp>
      <p:sp>
        <p:nvSpPr>
          <p:cNvPr id="21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532">
              <a:lnSpc>
                <a:spcPts val="1000"/>
              </a:lnSpc>
            </a:pPr>
            <a:r>
              <a:rPr lang="en-GB" sz="9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9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9777985" y="7089798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532">
              <a:lnSpc>
                <a:spcPts val="1000"/>
              </a:lnSpc>
            </a:pPr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3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4" name="Executive Summary"/>
          <p:cNvSpPr txBox="1"/>
          <p:nvPr userDrawn="1">
            <p:custDataLst>
              <p:tags r:id="rId9"/>
            </p:custDataLst>
          </p:nvPr>
        </p:nvSpPr>
        <p:spPr>
          <a:xfrm>
            <a:off x="563833" y="6742868"/>
            <a:ext cx="2109518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18532">
              <a:lnSpc>
                <a:spcPts val="1599"/>
              </a:lnSpc>
            </a:pPr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571428" y="6813665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405054" y="1037822"/>
            <a:ext cx="9721275" cy="169015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5" y="2152736"/>
            <a:ext cx="3081643" cy="4296577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810740" y="2152736"/>
            <a:ext cx="3081643" cy="4296577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7047925" y="2152736"/>
            <a:ext cx="3081643" cy="4296577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 dirty="0"/>
          </a:p>
        </p:txBody>
      </p:sp>
      <p:sp>
        <p:nvSpPr>
          <p:cNvPr id="18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63834" y="827292"/>
            <a:ext cx="5832764" cy="1334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507765" y="520590"/>
            <a:ext cx="6610465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532"/>
            <a:r>
              <a:rPr lang="en-GB" sz="900" dirty="0" smtClean="0">
                <a:solidFill>
                  <a:srgbClr val="000000"/>
                </a:solidFill>
              </a:rPr>
              <a:t>9/26/2012 C:\Documents and Settings\oabuhantas001\Desktop\revised </a:t>
            </a:r>
            <a:r>
              <a:rPr lang="en-GB" sz="900" dirty="0" err="1" smtClean="0">
                <a:solidFill>
                  <a:srgbClr val="000000"/>
                </a:solidFill>
              </a:rPr>
              <a:t>EQ_Technical</a:t>
            </a:r>
            <a:r>
              <a:rPr lang="en-GB" sz="900" dirty="0" smtClean="0">
                <a:solidFill>
                  <a:srgbClr val="000000"/>
                </a:solidFill>
              </a:rPr>
              <a:t> Proposal250912_r.pptx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751995" y="782815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532"/>
            <a:r>
              <a:rPr lang="en-GB" sz="1300" dirty="0" smtClean="0">
                <a:solidFill>
                  <a:srgbClr val="000000"/>
                </a:solidFill>
              </a:rPr>
              <a:t>Draft</a:t>
            </a:r>
            <a:endParaRPr lang="en-GB" sz="1300" dirty="0">
              <a:solidFill>
                <a:srgbClr val="000000"/>
              </a:solidFill>
            </a:endParaRPr>
          </a:p>
        </p:txBody>
      </p:sp>
      <p:sp>
        <p:nvSpPr>
          <p:cNvPr id="26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532">
              <a:lnSpc>
                <a:spcPts val="1000"/>
              </a:lnSpc>
            </a:pPr>
            <a:r>
              <a:rPr lang="en-GB" sz="9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9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9777985" y="7089798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532">
              <a:lnSpc>
                <a:spcPts val="1000"/>
              </a:lnSpc>
            </a:pPr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9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30" name="Executive Summary"/>
          <p:cNvSpPr txBox="1"/>
          <p:nvPr userDrawn="1">
            <p:custDataLst>
              <p:tags r:id="rId9"/>
            </p:custDataLst>
          </p:nvPr>
        </p:nvSpPr>
        <p:spPr>
          <a:xfrm>
            <a:off x="563833" y="6742868"/>
            <a:ext cx="2109518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18532">
              <a:lnSpc>
                <a:spcPts val="1599"/>
              </a:lnSpc>
            </a:pPr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32" name="Presentation Disclaimer" hidden="1"/>
          <p:cNvSpPr txBox="1"/>
          <p:nvPr userDrawn="1">
            <p:custDataLst>
              <p:tags r:id="rId10"/>
            </p:custDataLst>
          </p:nvPr>
        </p:nvSpPr>
        <p:spPr>
          <a:xfrm>
            <a:off x="571428" y="6813665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11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405054" y="1037822"/>
            <a:ext cx="9721275" cy="169015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Insert banner statement he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67112" y="334306"/>
            <a:ext cx="2812588" cy="71131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639" y="334306"/>
            <a:ext cx="8263250" cy="71131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/>
              <a:pPr/>
              <a:t>06-Feb-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12991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63834" y="2152738"/>
            <a:ext cx="4705096" cy="2072676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424470" y="2152738"/>
            <a:ext cx="4705096" cy="2072676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63834" y="4376639"/>
            <a:ext cx="4705096" cy="2072676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470" y="4376639"/>
            <a:ext cx="4705096" cy="2072676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 dirty="0"/>
          </a:p>
        </p:txBody>
      </p:sp>
      <p:sp>
        <p:nvSpPr>
          <p:cNvPr id="19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63834" y="827292"/>
            <a:ext cx="5832764" cy="1334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507765" y="520590"/>
            <a:ext cx="6610465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532"/>
            <a:r>
              <a:rPr lang="en-GB" sz="900" dirty="0" smtClean="0">
                <a:solidFill>
                  <a:srgbClr val="000000"/>
                </a:solidFill>
              </a:rPr>
              <a:t>9/26/2012 C:\Documents and Settings\oabuhantas001\Desktop\revised </a:t>
            </a:r>
            <a:r>
              <a:rPr lang="en-GB" sz="900" dirty="0" err="1" smtClean="0">
                <a:solidFill>
                  <a:srgbClr val="000000"/>
                </a:solidFill>
              </a:rPr>
              <a:t>EQ_Technical</a:t>
            </a:r>
            <a:r>
              <a:rPr lang="en-GB" sz="900" dirty="0" smtClean="0">
                <a:solidFill>
                  <a:srgbClr val="000000"/>
                </a:solidFill>
              </a:rPr>
              <a:t> Proposal250912_r.pptx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751995" y="782815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532"/>
            <a:r>
              <a:rPr lang="en-GB" sz="1300" dirty="0" smtClean="0">
                <a:solidFill>
                  <a:srgbClr val="000000"/>
                </a:solidFill>
              </a:rPr>
              <a:t>Draft</a:t>
            </a:r>
            <a:endParaRPr lang="en-GB" sz="1300" dirty="0">
              <a:solidFill>
                <a:srgbClr val="000000"/>
              </a:solidFill>
            </a:endParaRPr>
          </a:p>
        </p:txBody>
      </p:sp>
      <p:sp>
        <p:nvSpPr>
          <p:cNvPr id="26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532">
              <a:lnSpc>
                <a:spcPts val="1000"/>
              </a:lnSpc>
            </a:pPr>
            <a:r>
              <a:rPr lang="en-GB" sz="9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9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777985" y="7089798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532">
              <a:lnSpc>
                <a:spcPts val="1000"/>
              </a:lnSpc>
            </a:pPr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9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30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563833" y="6742868"/>
            <a:ext cx="2109518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18532">
              <a:lnSpc>
                <a:spcPts val="1599"/>
              </a:lnSpc>
            </a:pPr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33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71428" y="6813665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405054" y="1037822"/>
            <a:ext cx="9721275" cy="169015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Insert banner statement he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Insert banner statement her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63835" y="2152738"/>
            <a:ext cx="9565732" cy="2072676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63834" y="4376639"/>
            <a:ext cx="4705096" cy="2072676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4470" y="4376639"/>
            <a:ext cx="4705096" cy="2072676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5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63834" y="827292"/>
            <a:ext cx="5832764" cy="1334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507765" y="520590"/>
            <a:ext cx="6610465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532"/>
            <a:r>
              <a:rPr lang="en-GB" sz="900" dirty="0" smtClean="0">
                <a:solidFill>
                  <a:srgbClr val="000000"/>
                </a:solidFill>
              </a:rPr>
              <a:t>9/26/2012 C:\Documents and Settings\oabuhantas001\Desktop\revised </a:t>
            </a:r>
            <a:r>
              <a:rPr lang="en-GB" sz="900" dirty="0" err="1" smtClean="0">
                <a:solidFill>
                  <a:srgbClr val="000000"/>
                </a:solidFill>
              </a:rPr>
              <a:t>EQ_Technical</a:t>
            </a:r>
            <a:r>
              <a:rPr lang="en-GB" sz="900" dirty="0" smtClean="0">
                <a:solidFill>
                  <a:srgbClr val="000000"/>
                </a:solidFill>
              </a:rPr>
              <a:t> Proposal250912_r.pptx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751995" y="782815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532"/>
            <a:r>
              <a:rPr lang="en-GB" sz="1300" dirty="0" smtClean="0">
                <a:solidFill>
                  <a:srgbClr val="000000"/>
                </a:solidFill>
              </a:rPr>
              <a:t>Draft</a:t>
            </a:r>
            <a:endParaRPr lang="en-GB" sz="1300" dirty="0">
              <a:solidFill>
                <a:srgbClr val="000000"/>
              </a:solidFill>
            </a:endParaRPr>
          </a:p>
        </p:txBody>
      </p:sp>
      <p:sp>
        <p:nvSpPr>
          <p:cNvPr id="21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532">
              <a:lnSpc>
                <a:spcPts val="1000"/>
              </a:lnSpc>
            </a:pPr>
            <a:r>
              <a:rPr lang="en-GB" sz="9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9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777985" y="7089798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532">
              <a:lnSpc>
                <a:spcPts val="1000"/>
              </a:lnSpc>
            </a:pPr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3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4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563833" y="6742868"/>
            <a:ext cx="2109518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18532">
              <a:lnSpc>
                <a:spcPts val="1599"/>
              </a:lnSpc>
            </a:pPr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71428" y="6813665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405054" y="1037822"/>
            <a:ext cx="9721275" cy="169015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Insert banner statement her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63832" y="2152738"/>
            <a:ext cx="4705096" cy="2072676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470" y="2152738"/>
            <a:ext cx="4705096" cy="2072676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63698" y="4376639"/>
            <a:ext cx="9565732" cy="2072676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  <p:sp>
        <p:nvSpPr>
          <p:cNvPr id="15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63834" y="827292"/>
            <a:ext cx="5832764" cy="1334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507765" y="520590"/>
            <a:ext cx="6610465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532"/>
            <a:r>
              <a:rPr lang="en-GB" sz="900" dirty="0" smtClean="0">
                <a:solidFill>
                  <a:srgbClr val="000000"/>
                </a:solidFill>
              </a:rPr>
              <a:t>9/26/2012 C:\Documents and Settings\oabuhantas001\Desktop\revised </a:t>
            </a:r>
            <a:r>
              <a:rPr lang="en-GB" sz="900" dirty="0" err="1" smtClean="0">
                <a:solidFill>
                  <a:srgbClr val="000000"/>
                </a:solidFill>
              </a:rPr>
              <a:t>EQ_Technical</a:t>
            </a:r>
            <a:r>
              <a:rPr lang="en-GB" sz="900" dirty="0" smtClean="0">
                <a:solidFill>
                  <a:srgbClr val="000000"/>
                </a:solidFill>
              </a:rPr>
              <a:t> Proposal250912_r.pptx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751995" y="782815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532"/>
            <a:r>
              <a:rPr lang="en-GB" sz="1300" dirty="0" smtClean="0">
                <a:solidFill>
                  <a:srgbClr val="000000"/>
                </a:solidFill>
              </a:rPr>
              <a:t>Draft</a:t>
            </a:r>
            <a:endParaRPr lang="en-GB" sz="1300" dirty="0">
              <a:solidFill>
                <a:srgbClr val="000000"/>
              </a:solidFill>
            </a:endParaRPr>
          </a:p>
        </p:txBody>
      </p:sp>
      <p:sp>
        <p:nvSpPr>
          <p:cNvPr id="21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532">
              <a:lnSpc>
                <a:spcPts val="1000"/>
              </a:lnSpc>
            </a:pPr>
            <a:r>
              <a:rPr lang="en-GB" sz="9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9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777985" y="7089798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532">
              <a:lnSpc>
                <a:spcPts val="1000"/>
              </a:lnSpc>
            </a:pPr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3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4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563833" y="6742868"/>
            <a:ext cx="2109518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18532">
              <a:lnSpc>
                <a:spcPts val="1599"/>
              </a:lnSpc>
            </a:pPr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26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71428" y="6813665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cxnSp>
        <p:nvCxnSpPr>
          <p:cNvPr id="28" name="Frame Line"/>
          <p:cNvCxnSpPr/>
          <p:nvPr userDrawn="1"/>
        </p:nvCxnSpPr>
        <p:spPr>
          <a:xfrm flipV="1">
            <a:off x="405054" y="1037822"/>
            <a:ext cx="9721275" cy="169015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63835" y="2152738"/>
            <a:ext cx="3081643" cy="2072676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808208" y="2152738"/>
            <a:ext cx="3081643" cy="2072676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7047925" y="2152738"/>
            <a:ext cx="3081643" cy="2072676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63835" y="4376639"/>
            <a:ext cx="3081643" cy="2072676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808208" y="4376639"/>
            <a:ext cx="3081643" cy="2072676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7047925" y="4376639"/>
            <a:ext cx="3081643" cy="2072676"/>
          </a:xfrm>
        </p:spPr>
        <p:txBody>
          <a:bodyPr tIns="0" bIns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1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63834" y="827292"/>
            <a:ext cx="5832764" cy="1334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507765" y="520590"/>
            <a:ext cx="6610465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532"/>
            <a:r>
              <a:rPr lang="en-GB" sz="900" dirty="0" smtClean="0">
                <a:solidFill>
                  <a:srgbClr val="000000"/>
                </a:solidFill>
              </a:rPr>
              <a:t>9/26/2012 C:\Documents and Settings\oabuhantas001\Desktop\revised </a:t>
            </a:r>
            <a:r>
              <a:rPr lang="en-GB" sz="900" dirty="0" err="1" smtClean="0">
                <a:solidFill>
                  <a:srgbClr val="000000"/>
                </a:solidFill>
              </a:rPr>
              <a:t>EQ_Technical</a:t>
            </a:r>
            <a:r>
              <a:rPr lang="en-GB" sz="900" dirty="0" smtClean="0">
                <a:solidFill>
                  <a:srgbClr val="000000"/>
                </a:solidFill>
              </a:rPr>
              <a:t> Proposal250912_r.pptx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37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751995" y="782815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532"/>
            <a:r>
              <a:rPr lang="en-GB" sz="1300" dirty="0" smtClean="0">
                <a:solidFill>
                  <a:srgbClr val="000000"/>
                </a:solidFill>
              </a:rPr>
              <a:t>Draft</a:t>
            </a:r>
            <a:endParaRPr lang="en-GB" sz="1300" dirty="0">
              <a:solidFill>
                <a:srgbClr val="000000"/>
              </a:solidFill>
            </a:endParaRPr>
          </a:p>
        </p:txBody>
      </p:sp>
      <p:sp>
        <p:nvSpPr>
          <p:cNvPr id="29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532">
              <a:lnSpc>
                <a:spcPts val="1000"/>
              </a:lnSpc>
            </a:pPr>
            <a:r>
              <a:rPr lang="en-GB" sz="9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9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777985" y="7089798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532">
              <a:lnSpc>
                <a:spcPts val="1000"/>
              </a:lnSpc>
            </a:pPr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31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32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563833" y="6742868"/>
            <a:ext cx="2109518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18532">
              <a:lnSpc>
                <a:spcPts val="1599"/>
              </a:lnSpc>
            </a:pPr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41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71428" y="6813665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0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cxnSp>
        <p:nvCxnSpPr>
          <p:cNvPr id="23" name="Frame Line"/>
          <p:cNvCxnSpPr/>
          <p:nvPr userDrawn="1"/>
        </p:nvCxnSpPr>
        <p:spPr>
          <a:xfrm flipV="1">
            <a:off x="405054" y="1037822"/>
            <a:ext cx="9721275" cy="169015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Insert banner statement he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63834" y="827292"/>
            <a:ext cx="5832764" cy="13343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507765" y="520590"/>
            <a:ext cx="6610465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532"/>
            <a:r>
              <a:rPr lang="en-GB" sz="900" dirty="0" smtClean="0">
                <a:solidFill>
                  <a:srgbClr val="000000"/>
                </a:solidFill>
              </a:rPr>
              <a:t>9/26/2012 C:\Documents and Settings\oabuhantas001\Desktop\revised </a:t>
            </a:r>
            <a:r>
              <a:rPr lang="en-GB" sz="900" dirty="0" err="1" smtClean="0">
                <a:solidFill>
                  <a:srgbClr val="000000"/>
                </a:solidFill>
              </a:rPr>
              <a:t>EQ_Technical</a:t>
            </a:r>
            <a:r>
              <a:rPr lang="en-GB" sz="900" dirty="0" smtClean="0">
                <a:solidFill>
                  <a:srgbClr val="000000"/>
                </a:solidFill>
              </a:rPr>
              <a:t> Proposal250912_r.pptx</a:t>
            </a:r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21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751995" y="782815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532"/>
            <a:r>
              <a:rPr lang="en-GB" sz="1300" dirty="0" smtClean="0">
                <a:solidFill>
                  <a:srgbClr val="000000"/>
                </a:solidFill>
              </a:rPr>
              <a:t>Draft</a:t>
            </a:r>
            <a:endParaRPr lang="en-GB" sz="1300" dirty="0">
              <a:solidFill>
                <a:srgbClr val="000000"/>
              </a:solidFill>
            </a:endParaRPr>
          </a:p>
        </p:txBody>
      </p:sp>
      <p:sp>
        <p:nvSpPr>
          <p:cNvPr id="24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532">
              <a:lnSpc>
                <a:spcPts val="1000"/>
              </a:lnSpc>
            </a:pPr>
            <a:r>
              <a:rPr lang="en-GB" sz="9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9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777985" y="7089798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532">
              <a:lnSpc>
                <a:spcPts val="1000"/>
              </a:lnSpc>
            </a:pPr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27" name="Executive Summary"/>
          <p:cNvSpPr txBox="1"/>
          <p:nvPr userDrawn="1">
            <p:custDataLst>
              <p:tags r:id="rId6"/>
            </p:custDataLst>
          </p:nvPr>
        </p:nvSpPr>
        <p:spPr>
          <a:xfrm>
            <a:off x="563833" y="6742868"/>
            <a:ext cx="2109518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018532">
              <a:lnSpc>
                <a:spcPts val="1599"/>
              </a:lnSpc>
            </a:pPr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30" name="Presentation 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71428" y="6813665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16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405054" y="1037822"/>
            <a:ext cx="9721275" cy="169015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Insert banner statement he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Frame Line"/>
          <p:cNvCxnSpPr/>
          <p:nvPr userDrawn="1"/>
        </p:nvCxnSpPr>
        <p:spPr>
          <a:xfrm flipV="1">
            <a:off x="405054" y="1037822"/>
            <a:ext cx="9721275" cy="169015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Insert banner statement her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1"/>
            </p:custDataLst>
          </p:nvPr>
        </p:nvSpPr>
        <p:spPr>
          <a:xfrm>
            <a:off x="563835" y="1111951"/>
            <a:ext cx="9565732" cy="444780"/>
          </a:xfrm>
        </p:spPr>
        <p:txBody>
          <a:bodyPr wrap="none" tIns="0" bIns="0" anchor="t"/>
          <a:lstStyle>
            <a:lvl1pPr marL="0" indent="0">
              <a:buNone/>
              <a:defRPr sz="3200" b="0" i="0">
                <a:solidFill>
                  <a:schemeClr val="tx1"/>
                </a:solidFill>
                <a:latin typeface="+mj-lt"/>
              </a:defRPr>
            </a:lvl1pPr>
            <a:lvl2pPr marL="50926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185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27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3706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463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5559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648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74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Section Divider style</a:t>
            </a:r>
          </a:p>
        </p:txBody>
      </p:sp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63835" y="1565628"/>
            <a:ext cx="9565732" cy="492444"/>
          </a:xfrm>
        </p:spPr>
        <p:txBody>
          <a:bodyPr wrap="square" tIns="0" bIns="0" anchor="t">
            <a:spAutoFit/>
          </a:bodyPr>
          <a:lstStyle>
            <a:lvl1pPr algn="l">
              <a:defRPr sz="3200" b="1" i="1" cap="none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Click to add Section Divider Title</a:t>
            </a:r>
            <a:endParaRPr lang="en-GB" noProof="0" dirty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22391"/>
            <a:ext cx="1701224" cy="261600"/>
          </a:xfrm>
          <a:prstGeom prst="rect">
            <a:avLst/>
          </a:prstGeom>
          <a:noFill/>
        </p:spPr>
        <p:txBody>
          <a:bodyPr wrap="square" lIns="91413" tIns="45707" rIns="91413" bIns="45707" rtlCol="0">
            <a:spAutoFit/>
          </a:bodyPr>
          <a:lstStyle/>
          <a:p>
            <a:pPr defTabSz="1018532"/>
            <a:r>
              <a:rPr lang="en-GB" sz="1100" dirty="0" smtClean="0">
                <a:solidFill>
                  <a:srgbClr val="000000"/>
                </a:solidFill>
              </a:rPr>
              <a:t>Slide Tags</a:t>
            </a:r>
            <a:endParaRPr lang="en-GB" sz="1100" dirty="0">
              <a:solidFill>
                <a:srgbClr val="000000"/>
              </a:solidFill>
            </a:endParaRPr>
          </a:p>
        </p:txBody>
      </p:sp>
      <p:sp>
        <p:nvSpPr>
          <p:cNvPr id="8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532">
              <a:lnSpc>
                <a:spcPts val="1000"/>
              </a:lnSpc>
            </a:pPr>
            <a:r>
              <a:rPr lang="en-GB" sz="9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9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777985" y="7089798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532">
              <a:lnSpc>
                <a:spcPts val="1000"/>
              </a:lnSpc>
            </a:pPr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1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17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71428" y="6813665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405054" y="1037822"/>
            <a:ext cx="9721275" cy="169015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1"/>
            </p:custDataLst>
          </p:nvPr>
        </p:nvSpPr>
        <p:spPr>
          <a:xfrm>
            <a:off x="563835" y="1111951"/>
            <a:ext cx="9565732" cy="444780"/>
          </a:xfrm>
        </p:spPr>
        <p:txBody>
          <a:bodyPr wrap="none" tIns="0" bIns="0" anchor="t"/>
          <a:lstStyle>
            <a:lvl1pPr marL="0" indent="0">
              <a:buNone/>
              <a:defRPr sz="3200" b="0" i="0">
                <a:solidFill>
                  <a:schemeClr val="tx1"/>
                </a:solidFill>
                <a:latin typeface="+mj-lt"/>
              </a:defRPr>
            </a:lvl1pPr>
            <a:lvl2pPr marL="50926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185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27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3706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463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5559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648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74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Appendix Divider style</a:t>
            </a:r>
          </a:p>
        </p:txBody>
      </p:sp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63835" y="1565628"/>
            <a:ext cx="9565732" cy="492444"/>
          </a:xfrm>
        </p:spPr>
        <p:txBody>
          <a:bodyPr wrap="square" tIns="0" bIns="0" anchor="t">
            <a:spAutoFit/>
          </a:bodyPr>
          <a:lstStyle>
            <a:lvl1pPr algn="l">
              <a:defRPr sz="3200" b="1" i="1" cap="none" baseline="0">
                <a:latin typeface="+mj-lt"/>
              </a:defRPr>
            </a:lvl1pPr>
          </a:lstStyle>
          <a:p>
            <a:r>
              <a:rPr lang="en-GB" noProof="0" dirty="0" smtClean="0"/>
              <a:t>Click to add Appendix Divider Title</a:t>
            </a:r>
            <a:endParaRPr lang="en-GB" noProof="0" dirty="0"/>
          </a:p>
        </p:txBody>
      </p:sp>
      <p:sp>
        <p:nvSpPr>
          <p:cNvPr id="16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1" y="222391"/>
            <a:ext cx="1701224" cy="261600"/>
          </a:xfrm>
          <a:prstGeom prst="rect">
            <a:avLst/>
          </a:prstGeom>
          <a:noFill/>
        </p:spPr>
        <p:txBody>
          <a:bodyPr wrap="square" lIns="91413" tIns="45707" rIns="91413" bIns="45707" rtlCol="0">
            <a:spAutoFit/>
          </a:bodyPr>
          <a:lstStyle/>
          <a:p>
            <a:pPr defTabSz="1018532"/>
            <a:r>
              <a:rPr lang="en-GB" sz="1100" dirty="0" smtClean="0">
                <a:solidFill>
                  <a:srgbClr val="000000"/>
                </a:solidFill>
              </a:rPr>
              <a:t>Slide Tags</a:t>
            </a:r>
            <a:endParaRPr lang="en-GB" sz="1100" dirty="0">
              <a:solidFill>
                <a:srgbClr val="000000"/>
              </a:solidFill>
            </a:endParaRPr>
          </a:p>
        </p:txBody>
      </p:sp>
      <p:sp>
        <p:nvSpPr>
          <p:cNvPr id="9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532">
              <a:lnSpc>
                <a:spcPts val="1000"/>
              </a:lnSpc>
            </a:pPr>
            <a:r>
              <a:rPr lang="en-GB" sz="9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9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777985" y="7089798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532">
              <a:lnSpc>
                <a:spcPts val="1000"/>
              </a:lnSpc>
            </a:pPr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12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sp>
        <p:nvSpPr>
          <p:cNvPr id="14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71428" y="6813665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endParaRPr lang="en-GB" sz="900" dirty="0" smtClean="0">
              <a:solidFill>
                <a:srgbClr val="000000"/>
              </a:solidFill>
            </a:endParaRPr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405054" y="1037822"/>
            <a:ext cx="9721275" cy="169015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 userDrawn="1"/>
        </p:nvGrpSpPr>
        <p:grpSpPr>
          <a:xfrm>
            <a:off x="1201731" y="0"/>
            <a:ext cx="9491670" cy="7119411"/>
            <a:chOff x="1130368" y="0"/>
            <a:chExt cx="8928031" cy="7318210"/>
          </a:xfrm>
        </p:grpSpPr>
        <p:grpSp>
          <p:nvGrpSpPr>
            <p:cNvPr id="5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2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532"/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1"/>
            </p:custDataLst>
          </p:nvPr>
        </p:nvSpPr>
        <p:spPr bwMode="white">
          <a:xfrm>
            <a:off x="2186670" y="2143843"/>
            <a:ext cx="6318826" cy="1329595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509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0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4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Subtitle (use this layout if subtitle needs three lines and your Title needs two)</a:t>
            </a: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186670" y="1226781"/>
            <a:ext cx="6318826" cy="889561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5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 smtClean="0"/>
              <a:t>Report Title</a:t>
            </a:r>
            <a:endParaRPr lang="en-GB" noProof="0" dirty="0"/>
          </a:p>
        </p:txBody>
      </p:sp>
      <p:sp>
        <p:nvSpPr>
          <p:cNvPr id="43" name="Confidentiality stamp"/>
          <p:cNvSpPr txBox="1"/>
          <p:nvPr userDrawn="1">
            <p:custDataLst>
              <p:tags r:id="rId3"/>
            </p:custDataLst>
          </p:nvPr>
        </p:nvSpPr>
        <p:spPr>
          <a:xfrm>
            <a:off x="563835" y="3629407"/>
            <a:ext cx="1302651" cy="1527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532"/>
            <a:r>
              <a:rPr lang="en-GB" sz="1000" i="1" dirty="0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2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563835" y="3931857"/>
            <a:ext cx="1458191" cy="1527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r>
              <a:rPr lang="en-GB" sz="1000" b="1" i="1" dirty="0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1" name="Report Date"/>
          <p:cNvSpPr txBox="1"/>
          <p:nvPr userDrawn="1">
            <p:custDataLst>
              <p:tags r:id="rId5"/>
            </p:custDataLst>
          </p:nvPr>
        </p:nvSpPr>
        <p:spPr bwMode="white">
          <a:xfrm>
            <a:off x="563835" y="4225413"/>
            <a:ext cx="1302651" cy="1527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532"/>
            <a:r>
              <a:rPr lang="en-GB" sz="1000" i="1" dirty="0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3" name="Descriptor"/>
          <p:cNvSpPr txBox="1"/>
          <p:nvPr userDrawn="1">
            <p:custDataLst>
              <p:tags r:id="rId6"/>
            </p:custDataLst>
          </p:nvPr>
        </p:nvSpPr>
        <p:spPr bwMode="white">
          <a:xfrm>
            <a:off x="2187287" y="818395"/>
            <a:ext cx="35266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1018532"/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</a:p>
        </p:txBody>
      </p:sp>
      <p:cxnSp>
        <p:nvCxnSpPr>
          <p:cNvPr id="25" name="Frame Line"/>
          <p:cNvCxnSpPr/>
          <p:nvPr userDrawn="1"/>
        </p:nvCxnSpPr>
        <p:spPr>
          <a:xfrm flipV="1">
            <a:off x="405054" y="3495973"/>
            <a:ext cx="1458191" cy="150577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34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563835" y="4518967"/>
            <a:ext cx="1302651" cy="1263176"/>
          </a:xfrm>
        </p:spPr>
        <p:txBody>
          <a:bodyPr/>
          <a:lstStyle>
            <a:lvl1pPr>
              <a:defRPr sz="1000" i="1"/>
            </a:lvl1pPr>
          </a:lstStyle>
          <a:p>
            <a:pPr lvl="0"/>
            <a:r>
              <a:rPr lang="en-GB" dirty="0" smtClean="0"/>
              <a:t>Click to enter text</a:t>
            </a:r>
            <a:endParaRPr lang="en-GB" dirty="0"/>
          </a:p>
        </p:txBody>
      </p:sp>
      <p:sp>
        <p:nvSpPr>
          <p:cNvPr id="36" name="Cover image"/>
          <p:cNvSpPr txBox="1"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2024560" y="3492452"/>
            <a:ext cx="7144167" cy="311346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560" defTabSz="1018532">
              <a:spcAft>
                <a:spcPts val="1003"/>
              </a:spcAft>
            </a:pPr>
            <a:endParaRPr lang="en-GB" sz="2200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2005" y="2348895"/>
            <a:ext cx="9089390" cy="16207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4010" y="4284718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12045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 userDrawn="1"/>
        </p:nvGrpSpPr>
        <p:grpSpPr>
          <a:xfrm>
            <a:off x="1201730" y="6219348"/>
            <a:ext cx="1294879" cy="900064"/>
            <a:chOff x="3835013" y="2828854"/>
            <a:chExt cx="1217986" cy="925197"/>
          </a:xfrm>
        </p:grpSpPr>
        <p:grpSp>
          <p:nvGrpSpPr>
            <p:cNvPr id="5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51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9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Freeform 49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138">
                  <a:defRPr/>
                </a:pPr>
                <a:endParaRPr lang="en-GB" dirty="0">
                  <a:solidFill>
                    <a:srgbClr val="000000"/>
                  </a:solidFill>
                </a:endParaRPr>
              </a:p>
            </p:txBody>
          </p:sp>
        </p:grpSp>
      </p:grpSp>
      <p:cxnSp>
        <p:nvCxnSpPr>
          <p:cNvPr id="72" name="Frame Line"/>
          <p:cNvCxnSpPr/>
          <p:nvPr userDrawn="1"/>
        </p:nvCxnSpPr>
        <p:spPr>
          <a:xfrm flipV="1">
            <a:off x="2025267" y="1109757"/>
            <a:ext cx="8096122" cy="150453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1"/>
            </p:custDataLst>
          </p:nvPr>
        </p:nvSpPr>
        <p:spPr>
          <a:xfrm>
            <a:off x="2186670" y="2143841"/>
            <a:ext cx="6318826" cy="889561"/>
          </a:xfrm>
        </p:spPr>
        <p:txBody>
          <a:bodyPr tIns="0" bIns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tx1"/>
                </a:solidFill>
                <a:latin typeface="+mj-lt"/>
              </a:defRPr>
            </a:lvl1pPr>
            <a:lvl2pPr marL="509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0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3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5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4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Subtitle (move higher if title is only one line)</a:t>
            </a:r>
            <a:endParaRPr lang="en-GB" noProof="0" dirty="0"/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>
          <a:xfrm>
            <a:off x="2186670" y="1226781"/>
            <a:ext cx="6318826" cy="889561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101853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 smtClean="0"/>
              <a:t>Report Title</a:t>
            </a:r>
            <a:endParaRPr lang="en-GB" noProof="0" dirty="0"/>
          </a:p>
        </p:txBody>
      </p:sp>
      <p:sp>
        <p:nvSpPr>
          <p:cNvPr id="43" name="Confidentiality stamp"/>
          <p:cNvSpPr txBox="1"/>
          <p:nvPr userDrawn="1">
            <p:custDataLst>
              <p:tags r:id="rId3"/>
            </p:custDataLst>
          </p:nvPr>
        </p:nvSpPr>
        <p:spPr>
          <a:xfrm>
            <a:off x="563835" y="3629407"/>
            <a:ext cx="1302651" cy="1527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532"/>
            <a:r>
              <a:rPr lang="en-GB" sz="1000" i="1" dirty="0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2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563835" y="3931857"/>
            <a:ext cx="1458191" cy="1527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18532"/>
            <a:r>
              <a:rPr lang="en-GB" sz="1000" b="1" i="1" dirty="0" smtClean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31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563834" y="4225413"/>
            <a:ext cx="1302651" cy="15270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532"/>
            <a:endParaRPr lang="en-GB" sz="10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5" name="Descriptor"/>
          <p:cNvSpPr txBox="1"/>
          <p:nvPr userDrawn="1">
            <p:custDataLst>
              <p:tags r:id="rId6"/>
            </p:custDataLst>
          </p:nvPr>
        </p:nvSpPr>
        <p:spPr>
          <a:xfrm>
            <a:off x="2187287" y="818395"/>
            <a:ext cx="35266" cy="153888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1018532"/>
            <a:r>
              <a:rPr lang="en-GB" sz="10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</a:p>
        </p:txBody>
      </p:sp>
      <p:cxnSp>
        <p:nvCxnSpPr>
          <p:cNvPr id="26" name="Frame Line"/>
          <p:cNvCxnSpPr/>
          <p:nvPr userDrawn="1"/>
        </p:nvCxnSpPr>
        <p:spPr>
          <a:xfrm flipV="1">
            <a:off x="405054" y="3495973"/>
            <a:ext cx="1458191" cy="150577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hape 9"/>
          <p:cNvCxnSpPr/>
          <p:nvPr/>
        </p:nvCxnSpPr>
        <p:spPr>
          <a:xfrm rot="5400000" flipH="1" flipV="1">
            <a:off x="4769144" y="-3685746"/>
            <a:ext cx="168028" cy="8883747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800" y="756126"/>
            <a:ext cx="8719234" cy="1008168"/>
          </a:xfrm>
        </p:spPr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BA0955C-2FEA-49B0-8EED-6908A5F591CF}" type="slidenum">
              <a:rPr lang="en-GB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2005" y="2348895"/>
            <a:ext cx="9089390" cy="16207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4010" y="4284718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12045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5646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705" y="4858814"/>
            <a:ext cx="9089390" cy="1501751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27588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639" y="1944577"/>
            <a:ext cx="5537918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41782" y="1944577"/>
            <a:ext cx="5537919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68555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671" y="1692535"/>
            <a:ext cx="4724775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671" y="2397901"/>
            <a:ext cx="4724775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2101" y="1692535"/>
            <a:ext cx="4726631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32101" y="2397901"/>
            <a:ext cx="4726631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9319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09859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51104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3" y="301050"/>
            <a:ext cx="3518055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80823" y="301051"/>
            <a:ext cx="5977908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673" y="1582265"/>
            <a:ext cx="3518055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6264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56462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981" y="5292885"/>
            <a:ext cx="6416040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21436" indent="0">
              <a:buNone/>
              <a:defRPr sz="3200"/>
            </a:lvl2pPr>
            <a:lvl3pPr marL="1042872" indent="0">
              <a:buNone/>
              <a:defRPr sz="2700"/>
            </a:lvl3pPr>
            <a:lvl4pPr marL="1564308" indent="0">
              <a:buNone/>
              <a:defRPr sz="2300"/>
            </a:lvl4pPr>
            <a:lvl5pPr marL="2085744" indent="0">
              <a:buNone/>
              <a:defRPr sz="2300"/>
            </a:lvl5pPr>
            <a:lvl6pPr marL="2607179" indent="0">
              <a:buNone/>
              <a:defRPr sz="2300"/>
            </a:lvl6pPr>
            <a:lvl7pPr marL="3128616" indent="0">
              <a:buNone/>
              <a:defRPr sz="2300"/>
            </a:lvl7pPr>
            <a:lvl8pPr marL="3650052" indent="0">
              <a:buNone/>
              <a:defRPr sz="2300"/>
            </a:lvl8pPr>
            <a:lvl9pPr marL="4171487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84701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01147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67112" y="334306"/>
            <a:ext cx="2812588" cy="71131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639" y="334306"/>
            <a:ext cx="8263250" cy="71131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12991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2005" y="2348895"/>
            <a:ext cx="9089390" cy="16207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4010" y="4284718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12045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56462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705" y="4858814"/>
            <a:ext cx="9089390" cy="1501751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27588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639" y="1944577"/>
            <a:ext cx="5537918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41782" y="1944577"/>
            <a:ext cx="5537919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68555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671" y="1692535"/>
            <a:ext cx="4724775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671" y="2397901"/>
            <a:ext cx="4724775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2101" y="1692535"/>
            <a:ext cx="4726631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32101" y="2397901"/>
            <a:ext cx="4726631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9319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09859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5110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705" y="4858814"/>
            <a:ext cx="9089390" cy="1501751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27588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3" y="301050"/>
            <a:ext cx="3518055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80823" y="301051"/>
            <a:ext cx="5977908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673" y="1582265"/>
            <a:ext cx="3518055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62645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981" y="5292885"/>
            <a:ext cx="6416040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21436" indent="0">
              <a:buNone/>
              <a:defRPr sz="3200"/>
            </a:lvl2pPr>
            <a:lvl3pPr marL="1042872" indent="0">
              <a:buNone/>
              <a:defRPr sz="2700"/>
            </a:lvl3pPr>
            <a:lvl4pPr marL="1564308" indent="0">
              <a:buNone/>
              <a:defRPr sz="2300"/>
            </a:lvl4pPr>
            <a:lvl5pPr marL="2085744" indent="0">
              <a:buNone/>
              <a:defRPr sz="2300"/>
            </a:lvl5pPr>
            <a:lvl6pPr marL="2607179" indent="0">
              <a:buNone/>
              <a:defRPr sz="2300"/>
            </a:lvl6pPr>
            <a:lvl7pPr marL="3128616" indent="0">
              <a:buNone/>
              <a:defRPr sz="2300"/>
            </a:lvl7pPr>
            <a:lvl8pPr marL="3650052" indent="0">
              <a:buNone/>
              <a:defRPr sz="2300"/>
            </a:lvl8pPr>
            <a:lvl9pPr marL="4171487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84701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01147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67112" y="334306"/>
            <a:ext cx="2812588" cy="71131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639" y="334306"/>
            <a:ext cx="8263250" cy="71131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1299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639" y="1944577"/>
            <a:ext cx="5537918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41782" y="1944577"/>
            <a:ext cx="5537919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6855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671" y="1692535"/>
            <a:ext cx="4724775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671" y="2397901"/>
            <a:ext cx="4724775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2101" y="1692535"/>
            <a:ext cx="4726631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32101" y="2397901"/>
            <a:ext cx="4726631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931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0985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5110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3" y="301050"/>
            <a:ext cx="3518055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80823" y="301051"/>
            <a:ext cx="5977908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673" y="1582265"/>
            <a:ext cx="3518055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6264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/>
              <a:pPr/>
              <a:t>06-Feb-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5646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981" y="5292885"/>
            <a:ext cx="6416040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21436" indent="0">
              <a:buNone/>
              <a:defRPr sz="3200"/>
            </a:lvl2pPr>
            <a:lvl3pPr marL="1042872" indent="0">
              <a:buNone/>
              <a:defRPr sz="2700"/>
            </a:lvl3pPr>
            <a:lvl4pPr marL="1564308" indent="0">
              <a:buNone/>
              <a:defRPr sz="2300"/>
            </a:lvl4pPr>
            <a:lvl5pPr marL="2085744" indent="0">
              <a:buNone/>
              <a:defRPr sz="2300"/>
            </a:lvl5pPr>
            <a:lvl6pPr marL="2607179" indent="0">
              <a:buNone/>
              <a:defRPr sz="2300"/>
            </a:lvl6pPr>
            <a:lvl7pPr marL="3128616" indent="0">
              <a:buNone/>
              <a:defRPr sz="2300"/>
            </a:lvl7pPr>
            <a:lvl8pPr marL="3650052" indent="0">
              <a:buNone/>
              <a:defRPr sz="2300"/>
            </a:lvl8pPr>
            <a:lvl9pPr marL="4171487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8470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0114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67112" y="334306"/>
            <a:ext cx="2812588" cy="71131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639" y="334306"/>
            <a:ext cx="8263250" cy="71131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1299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2005" y="2348895"/>
            <a:ext cx="9089390" cy="16207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4010" y="4284718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1204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5646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705" y="4858814"/>
            <a:ext cx="9089390" cy="1501751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2758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639" y="1944577"/>
            <a:ext cx="5537918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41782" y="1944577"/>
            <a:ext cx="5537919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6855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671" y="1692535"/>
            <a:ext cx="4724775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671" y="2397901"/>
            <a:ext cx="4724775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2101" y="1692535"/>
            <a:ext cx="4726631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32101" y="2397901"/>
            <a:ext cx="4726631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931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0985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511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705" y="4858814"/>
            <a:ext cx="9089390" cy="1501751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/>
              <a:pPr/>
              <a:t>06-Feb-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62758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3" y="301050"/>
            <a:ext cx="3518055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80823" y="301051"/>
            <a:ext cx="5977908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673" y="1582265"/>
            <a:ext cx="3518055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6264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981" y="5292885"/>
            <a:ext cx="6416040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21436" indent="0">
              <a:buNone/>
              <a:defRPr sz="3200"/>
            </a:lvl2pPr>
            <a:lvl3pPr marL="1042872" indent="0">
              <a:buNone/>
              <a:defRPr sz="2700"/>
            </a:lvl3pPr>
            <a:lvl4pPr marL="1564308" indent="0">
              <a:buNone/>
              <a:defRPr sz="2300"/>
            </a:lvl4pPr>
            <a:lvl5pPr marL="2085744" indent="0">
              <a:buNone/>
              <a:defRPr sz="2300"/>
            </a:lvl5pPr>
            <a:lvl6pPr marL="2607179" indent="0">
              <a:buNone/>
              <a:defRPr sz="2300"/>
            </a:lvl6pPr>
            <a:lvl7pPr marL="3128616" indent="0">
              <a:buNone/>
              <a:defRPr sz="2300"/>
            </a:lvl7pPr>
            <a:lvl8pPr marL="3650052" indent="0">
              <a:buNone/>
              <a:defRPr sz="2300"/>
            </a:lvl8pPr>
            <a:lvl9pPr marL="4171487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8470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0114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67112" y="334306"/>
            <a:ext cx="2812588" cy="71131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639" y="334306"/>
            <a:ext cx="8263250" cy="71131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1299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2005" y="2348895"/>
            <a:ext cx="9089390" cy="16207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4010" y="4284718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1204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5646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705" y="4858814"/>
            <a:ext cx="9089390" cy="1501751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2758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639" y="1944577"/>
            <a:ext cx="5537918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41782" y="1944577"/>
            <a:ext cx="5537919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6855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671" y="1692535"/>
            <a:ext cx="4724775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671" y="2397901"/>
            <a:ext cx="4724775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2101" y="1692535"/>
            <a:ext cx="4726631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32101" y="2397901"/>
            <a:ext cx="4726631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931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0985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639" y="1944577"/>
            <a:ext cx="5537918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41782" y="1944577"/>
            <a:ext cx="5537919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/>
              <a:pPr/>
              <a:t>06-Feb-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26855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5110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3" y="301050"/>
            <a:ext cx="3518055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80823" y="301051"/>
            <a:ext cx="5977908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673" y="1582265"/>
            <a:ext cx="3518055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62645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981" y="5292885"/>
            <a:ext cx="6416040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21436" indent="0">
              <a:buNone/>
              <a:defRPr sz="3200"/>
            </a:lvl2pPr>
            <a:lvl3pPr marL="1042872" indent="0">
              <a:buNone/>
              <a:defRPr sz="2700"/>
            </a:lvl3pPr>
            <a:lvl4pPr marL="1564308" indent="0">
              <a:buNone/>
              <a:defRPr sz="2300"/>
            </a:lvl4pPr>
            <a:lvl5pPr marL="2085744" indent="0">
              <a:buNone/>
              <a:defRPr sz="2300"/>
            </a:lvl5pPr>
            <a:lvl6pPr marL="2607179" indent="0">
              <a:buNone/>
              <a:defRPr sz="2300"/>
            </a:lvl6pPr>
            <a:lvl7pPr marL="3128616" indent="0">
              <a:buNone/>
              <a:defRPr sz="2300"/>
            </a:lvl7pPr>
            <a:lvl8pPr marL="3650052" indent="0">
              <a:buNone/>
              <a:defRPr sz="2300"/>
            </a:lvl8pPr>
            <a:lvl9pPr marL="4171487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8470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0114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67112" y="334306"/>
            <a:ext cx="2812588" cy="71131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639" y="334306"/>
            <a:ext cx="8263250" cy="71131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1299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2005" y="2348895"/>
            <a:ext cx="9089390" cy="162077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04010" y="4284718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1204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56462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705" y="4858814"/>
            <a:ext cx="9089390" cy="1501751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43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8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64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74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71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86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5005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14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27588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5639" y="1944577"/>
            <a:ext cx="5537918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41782" y="1944577"/>
            <a:ext cx="5537919" cy="5502919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6855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671" y="1692535"/>
            <a:ext cx="4724775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671" y="2397901"/>
            <a:ext cx="4724775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2101" y="1692535"/>
            <a:ext cx="4726631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32101" y="2397901"/>
            <a:ext cx="4726631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931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671" y="1692535"/>
            <a:ext cx="4724775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671" y="2397901"/>
            <a:ext cx="4724775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32101" y="1692535"/>
            <a:ext cx="4726631" cy="705367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436" indent="0">
              <a:buNone/>
              <a:defRPr sz="2300" b="1"/>
            </a:lvl2pPr>
            <a:lvl3pPr marL="1042872" indent="0">
              <a:buNone/>
              <a:defRPr sz="2100" b="1"/>
            </a:lvl3pPr>
            <a:lvl4pPr marL="1564308" indent="0">
              <a:buNone/>
              <a:defRPr sz="1800" b="1"/>
            </a:lvl4pPr>
            <a:lvl5pPr marL="2085744" indent="0">
              <a:buNone/>
              <a:defRPr sz="1800" b="1"/>
            </a:lvl5pPr>
            <a:lvl6pPr marL="2607179" indent="0">
              <a:buNone/>
              <a:defRPr sz="1800" b="1"/>
            </a:lvl6pPr>
            <a:lvl7pPr marL="3128616" indent="0">
              <a:buNone/>
              <a:defRPr sz="1800" b="1"/>
            </a:lvl7pPr>
            <a:lvl8pPr marL="3650052" indent="0">
              <a:buNone/>
              <a:defRPr sz="1800" b="1"/>
            </a:lvl8pPr>
            <a:lvl9pPr marL="4171487" indent="0">
              <a:buNone/>
              <a:defRPr sz="18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32101" y="2397901"/>
            <a:ext cx="4726631" cy="4356478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/>
              <a:pPr/>
              <a:t>06-Feb-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9319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0985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51104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3" y="301050"/>
            <a:ext cx="3518055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80823" y="301051"/>
            <a:ext cx="5977908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673" y="1582265"/>
            <a:ext cx="3518055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6264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981" y="5292885"/>
            <a:ext cx="6416040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21436" indent="0">
              <a:buNone/>
              <a:defRPr sz="3200"/>
            </a:lvl2pPr>
            <a:lvl3pPr marL="1042872" indent="0">
              <a:buNone/>
              <a:defRPr sz="2700"/>
            </a:lvl3pPr>
            <a:lvl4pPr marL="1564308" indent="0">
              <a:buNone/>
              <a:defRPr sz="2300"/>
            </a:lvl4pPr>
            <a:lvl5pPr marL="2085744" indent="0">
              <a:buNone/>
              <a:defRPr sz="2300"/>
            </a:lvl5pPr>
            <a:lvl6pPr marL="2607179" indent="0">
              <a:buNone/>
              <a:defRPr sz="2300"/>
            </a:lvl6pPr>
            <a:lvl7pPr marL="3128616" indent="0">
              <a:buNone/>
              <a:defRPr sz="2300"/>
            </a:lvl7pPr>
            <a:lvl8pPr marL="3650052" indent="0">
              <a:buNone/>
              <a:defRPr sz="2300"/>
            </a:lvl8pPr>
            <a:lvl9pPr marL="4171487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8470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0114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67112" y="334306"/>
            <a:ext cx="2812588" cy="71131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5639" y="334306"/>
            <a:ext cx="8263250" cy="71131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12991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579933"/>
            <a:ext cx="10693400" cy="1984832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99551" tIns="49777" rIns="99551" bIns="49777" anchor="ctr"/>
          <a:lstStyle/>
          <a:p>
            <a:pPr defTabSz="995514"/>
            <a:endParaRPr lang="en-US" sz="2100" dirty="0">
              <a:solidFill>
                <a:srgbClr val="000000"/>
              </a:solidFill>
            </a:endParaRPr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4389" y="747375"/>
            <a:ext cx="1747960" cy="742124"/>
          </a:xfrm>
          <a:prstGeom prst="rect">
            <a:avLst/>
          </a:prstGeom>
          <a:noFill/>
        </p:spPr>
      </p:pic>
      <p:pic>
        <p:nvPicPr>
          <p:cNvPr id="9" name="Picture 150" descr="BCG_Logotype_Regular_rev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91492" y="6439327"/>
            <a:ext cx="4510421" cy="278296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8397980" y="763238"/>
            <a:ext cx="1803175" cy="732083"/>
          </a:xfrm>
        </p:spPr>
        <p:txBody>
          <a:bodyPr lIns="97984" tIns="97984" rIns="97984" bIns="97984" anchor="ctr"/>
          <a:lstStyle>
            <a:lvl1pPr algn="ctr">
              <a:defRPr sz="1500" b="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Placeholder for client logo</a:t>
            </a:r>
            <a:endParaRPr lang="en-US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93544" y="1663081"/>
            <a:ext cx="9707611" cy="50606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10159702" y="7526866"/>
            <a:ext cx="205966" cy="146859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995514">
              <a:defRPr/>
            </a:pPr>
            <a:r>
              <a:rPr lang="en-US" sz="1000" dirty="0" smtClean="0">
                <a:solidFill>
                  <a:srgbClr val="000000"/>
                </a:solidFill>
              </a:rPr>
              <a:t>‹#›</a:t>
            </a:r>
          </a:p>
          <a:p>
            <a:pPr algn="r" defTabSz="995514">
              <a:defRPr/>
            </a:pPr>
            <a:endParaRPr lang="en-US" sz="10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/>
              <a:pPr/>
              <a:t>06-Feb-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09859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 userDrawn="1"/>
        </p:nvGrpSpPr>
        <p:grpSpPr>
          <a:xfrm>
            <a:off x="1201731" y="0"/>
            <a:ext cx="9491670" cy="7119411"/>
            <a:chOff x="1130368" y="0"/>
            <a:chExt cx="8928031" cy="7318210"/>
          </a:xfrm>
        </p:grpSpPr>
        <p:grpSp>
          <p:nvGrpSpPr>
            <p:cNvPr id="5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2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3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2187289" y="818397"/>
            <a:ext cx="65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1018644"/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186670" y="1226781"/>
            <a:ext cx="6318826" cy="479550"/>
          </a:xfrm>
        </p:spPr>
        <p:txBody>
          <a:bodyPr vert="horz" lIns="0" tIns="0" rIns="0" bIns="35994" rtlCol="0" anchor="t" anchorCtr="0">
            <a:spAutoFit/>
          </a:bodyPr>
          <a:lstStyle>
            <a:lvl1pPr algn="l" defTabSz="101864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2186670" y="1704991"/>
            <a:ext cx="6318826" cy="44319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5093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63836" y="3629408"/>
            <a:ext cx="130265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644"/>
            <a:endParaRPr lang="en-US" sz="10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63836" y="3931857"/>
            <a:ext cx="1458191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36" rtlCol="0" anchor="t" anchorCtr="0">
            <a:spAutoFit/>
          </a:bodyPr>
          <a:lstStyle/>
          <a:p>
            <a:pPr defTabSz="1018644"/>
            <a:endParaRPr lang="en-US" sz="10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63836" y="4225411"/>
            <a:ext cx="130265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644"/>
            <a:endParaRPr lang="en-US" sz="10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2024560" y="3492453"/>
            <a:ext cx="7144167" cy="311346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594" defTabSz="1018644">
              <a:spcAft>
                <a:spcPts val="1003"/>
              </a:spcAft>
            </a:pPr>
            <a:endParaRPr lang="en-US" sz="2200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25" name="Frame Line"/>
          <p:cNvCxnSpPr/>
          <p:nvPr userDrawn="1"/>
        </p:nvCxnSpPr>
        <p:spPr bwMode="black">
          <a:xfrm flipV="1">
            <a:off x="405054" y="3496712"/>
            <a:ext cx="1458191" cy="140088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5" y="2152737"/>
            <a:ext cx="9565732" cy="4296577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777985" y="7103074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" name="Report Date"/>
          <p:cNvSpPr txBox="1"/>
          <p:nvPr userDrawn="1">
            <p:custDataLst>
              <p:tags r:id="rId3"/>
            </p:custDataLst>
          </p:nvPr>
        </p:nvSpPr>
        <p:spPr>
          <a:xfrm>
            <a:off x="9106514" y="6947469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0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9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7"/>
            </p:custDataLst>
          </p:nvPr>
        </p:nvSpPr>
        <p:spPr>
          <a:xfrm>
            <a:off x="563833" y="6742869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 userDrawn="1">
            <p:custDataLst>
              <p:tags r:id="rId8"/>
            </p:custDataLst>
          </p:nvPr>
        </p:nvSpPr>
        <p:spPr>
          <a:xfrm>
            <a:off x="9751995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9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3507766" y="382089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405055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4" y="2152737"/>
            <a:ext cx="4705096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470" y="2152737"/>
            <a:ext cx="4705096" cy="4296577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9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8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2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9106514" y="6947469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4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43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8"/>
            </p:custDataLst>
          </p:nvPr>
        </p:nvSpPr>
        <p:spPr>
          <a:xfrm>
            <a:off x="563833" y="6742869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24" name="Draft stamp"/>
          <p:cNvSpPr txBox="1"/>
          <p:nvPr userDrawn="1">
            <p:custDataLst>
              <p:tags r:id="rId9"/>
            </p:custDataLst>
          </p:nvPr>
        </p:nvSpPr>
        <p:spPr>
          <a:xfrm>
            <a:off x="9751995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3507766" y="382089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405055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6" y="2152737"/>
            <a:ext cx="6318826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7047925" y="2152737"/>
            <a:ext cx="3081643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6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5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9106514" y="6947469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7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1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8"/>
            </p:custDataLst>
          </p:nvPr>
        </p:nvSpPr>
        <p:spPr>
          <a:xfrm>
            <a:off x="563833" y="6742869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24" name="Draft stamp"/>
          <p:cNvSpPr txBox="1"/>
          <p:nvPr userDrawn="1">
            <p:custDataLst>
              <p:tags r:id="rId9"/>
            </p:custDataLst>
          </p:nvPr>
        </p:nvSpPr>
        <p:spPr>
          <a:xfrm>
            <a:off x="9751995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3507766" y="382089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405055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5" y="2152737"/>
            <a:ext cx="3081643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810740" y="2152737"/>
            <a:ext cx="6318826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6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5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9106514" y="6947469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7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1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8"/>
            </p:custDataLst>
          </p:nvPr>
        </p:nvSpPr>
        <p:spPr>
          <a:xfrm>
            <a:off x="563833" y="6742869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24" name="Draft stamp"/>
          <p:cNvSpPr txBox="1"/>
          <p:nvPr userDrawn="1">
            <p:custDataLst>
              <p:tags r:id="rId9"/>
            </p:custDataLst>
          </p:nvPr>
        </p:nvSpPr>
        <p:spPr>
          <a:xfrm>
            <a:off x="9751995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3507766" y="382089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405055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4" y="2152737"/>
            <a:ext cx="4705096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63834" y="4376638"/>
            <a:ext cx="4705096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424470" y="2152737"/>
            <a:ext cx="4705096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9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7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2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9106514" y="6947469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30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44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43" name="Presentation Disclaimer"/>
          <p:cNvSpPr txBox="1"/>
          <p:nvPr userDrawn="1">
            <p:custDataLst>
              <p:tags r:id="rId8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9"/>
            </p:custDataLst>
          </p:nvPr>
        </p:nvSpPr>
        <p:spPr>
          <a:xfrm>
            <a:off x="563833" y="6742869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26" name="Draft stamp"/>
          <p:cNvSpPr txBox="1"/>
          <p:nvPr userDrawn="1">
            <p:custDataLst>
              <p:tags r:id="rId10"/>
            </p:custDataLst>
          </p:nvPr>
        </p:nvSpPr>
        <p:spPr>
          <a:xfrm>
            <a:off x="9751995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9" name="Section Header"/>
          <p:cNvSpPr txBox="1"/>
          <p:nvPr userDrawn="1">
            <p:custDataLst>
              <p:tags r:id="rId11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12"/>
            </p:custDataLst>
          </p:nvPr>
        </p:nvSpPr>
        <p:spPr>
          <a:xfrm>
            <a:off x="3507766" y="382089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405055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63834" y="2152737"/>
            <a:ext cx="4705096" cy="429657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424470" y="2152737"/>
            <a:ext cx="4705096" cy="20726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424470" y="4376638"/>
            <a:ext cx="4705096" cy="20726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2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1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9106514" y="6947469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3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6" name="Presentation Disclaimer"/>
          <p:cNvSpPr txBox="1"/>
          <p:nvPr userDrawn="1">
            <p:custDataLst>
              <p:tags r:id="rId8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9"/>
            </p:custDataLst>
          </p:nvPr>
        </p:nvSpPr>
        <p:spPr>
          <a:xfrm>
            <a:off x="563833" y="6742869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19" name="Draft stamp"/>
          <p:cNvSpPr txBox="1"/>
          <p:nvPr userDrawn="1">
            <p:custDataLst>
              <p:tags r:id="rId10"/>
            </p:custDataLst>
          </p:nvPr>
        </p:nvSpPr>
        <p:spPr>
          <a:xfrm>
            <a:off x="9751995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11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12"/>
            </p:custDataLst>
          </p:nvPr>
        </p:nvSpPr>
        <p:spPr>
          <a:xfrm>
            <a:off x="3507766" y="382089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405055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5" y="2152737"/>
            <a:ext cx="3081643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810740" y="2152737"/>
            <a:ext cx="3081643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7047925" y="2152737"/>
            <a:ext cx="3081643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7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6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9106514" y="6947469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9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2" name="Presentation Disclaimer"/>
          <p:cNvSpPr txBox="1"/>
          <p:nvPr userDrawn="1">
            <p:custDataLst>
              <p:tags r:id="rId8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9"/>
            </p:custDataLst>
          </p:nvPr>
        </p:nvSpPr>
        <p:spPr>
          <a:xfrm>
            <a:off x="563833" y="6742869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25" name="Draft stamp"/>
          <p:cNvSpPr txBox="1"/>
          <p:nvPr userDrawn="1">
            <p:custDataLst>
              <p:tags r:id="rId10"/>
            </p:custDataLst>
          </p:nvPr>
        </p:nvSpPr>
        <p:spPr>
          <a:xfrm>
            <a:off x="9751995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8" name="Section Header"/>
          <p:cNvSpPr txBox="1"/>
          <p:nvPr userDrawn="1">
            <p:custDataLst>
              <p:tags r:id="rId11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12"/>
            </p:custDataLst>
          </p:nvPr>
        </p:nvSpPr>
        <p:spPr>
          <a:xfrm>
            <a:off x="3507766" y="382089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405055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63834" y="2152737"/>
            <a:ext cx="4705096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424470" y="2152737"/>
            <a:ext cx="4705096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63834" y="4376638"/>
            <a:ext cx="4705096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470" y="4376638"/>
            <a:ext cx="4705096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7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6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9106514" y="6947469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9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3" name="Presentation Disclaimer"/>
          <p:cNvSpPr txBox="1"/>
          <p:nvPr userDrawn="1">
            <p:custDataLst>
              <p:tags r:id="rId5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563833" y="6742869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32" name="Draft stamp"/>
          <p:cNvSpPr txBox="1"/>
          <p:nvPr userDrawn="1">
            <p:custDataLst>
              <p:tags r:id="rId7"/>
            </p:custDataLst>
          </p:nvPr>
        </p:nvSpPr>
        <p:spPr>
          <a:xfrm>
            <a:off x="9751995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9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3507766" y="382089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405055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63835" y="2152737"/>
            <a:ext cx="9565732" cy="20726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63834" y="4376638"/>
            <a:ext cx="4705096" cy="20726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4470" y="4376638"/>
            <a:ext cx="4705096" cy="20726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2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1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9106514" y="6947469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3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6" name="Presentation Disclaimer"/>
          <p:cNvSpPr txBox="1"/>
          <p:nvPr userDrawn="1">
            <p:custDataLst>
              <p:tags r:id="rId5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563833" y="6742869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19" name="Draft stamp"/>
          <p:cNvSpPr txBox="1"/>
          <p:nvPr userDrawn="1">
            <p:custDataLst>
              <p:tags r:id="rId7"/>
            </p:custDataLst>
          </p:nvPr>
        </p:nvSpPr>
        <p:spPr>
          <a:xfrm>
            <a:off x="9751995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3507766" y="382089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405055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/>
              <a:pPr/>
              <a:t>06-Feb-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51104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63832" y="2152737"/>
            <a:ext cx="4705096" cy="20726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470" y="2152737"/>
            <a:ext cx="4705096" cy="20726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63698" y="4376638"/>
            <a:ext cx="9565732" cy="20726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2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1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9106514" y="6947469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3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6" name="Presentation Disclaimer"/>
          <p:cNvSpPr txBox="1"/>
          <p:nvPr userDrawn="1">
            <p:custDataLst>
              <p:tags r:id="rId5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563833" y="6742869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19" name="Draft stamp"/>
          <p:cNvSpPr txBox="1"/>
          <p:nvPr userDrawn="1">
            <p:custDataLst>
              <p:tags r:id="rId7"/>
            </p:custDataLst>
          </p:nvPr>
        </p:nvSpPr>
        <p:spPr>
          <a:xfrm>
            <a:off x="9751995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3507766" y="382089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405055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63835" y="2152737"/>
            <a:ext cx="3081643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808209" y="2152737"/>
            <a:ext cx="3081643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7047925" y="2152737"/>
            <a:ext cx="3081643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63835" y="4376638"/>
            <a:ext cx="3081643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808209" y="4376638"/>
            <a:ext cx="3081643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7047925" y="4376638"/>
            <a:ext cx="3081643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0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9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9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9106514" y="6947469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31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0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41" name="Presentation Disclaimer"/>
          <p:cNvSpPr txBox="1"/>
          <p:nvPr userDrawn="1">
            <p:custDataLst>
              <p:tags r:id="rId5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563833" y="6742869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37" name="Draft stamp"/>
          <p:cNvSpPr txBox="1"/>
          <p:nvPr userDrawn="1">
            <p:custDataLst>
              <p:tags r:id="rId7"/>
            </p:custDataLst>
          </p:nvPr>
        </p:nvSpPr>
        <p:spPr>
          <a:xfrm>
            <a:off x="9751995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21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3507766" y="382089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405055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25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4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9106514" y="6947469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6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6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424470" y="7075194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0" name="Presentation Disclaimer"/>
          <p:cNvSpPr txBox="1"/>
          <p:nvPr userDrawn="1">
            <p:custDataLst>
              <p:tags r:id="rId5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563833" y="6742869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 userDrawn="1">
            <p:custDataLst>
              <p:tags r:id="rId7"/>
            </p:custDataLst>
          </p:nvPr>
        </p:nvSpPr>
        <p:spPr>
          <a:xfrm>
            <a:off x="9751995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4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3507766" y="382089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405055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405055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63835" y="1535590"/>
            <a:ext cx="9565732" cy="492444"/>
          </a:xfrm>
        </p:spPr>
        <p:txBody>
          <a:bodyPr wrap="square" tIns="0" bIns="0" anchor="t">
            <a:spAutoFit/>
          </a:bodyPr>
          <a:lstStyle>
            <a:lvl1pPr algn="l">
              <a:defRPr sz="32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9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8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563835" y="1057667"/>
            <a:ext cx="9565732" cy="420265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3200" b="0" i="0">
                <a:solidFill>
                  <a:schemeClr val="tx1"/>
                </a:solidFill>
                <a:latin typeface="+mj-lt"/>
              </a:defRPr>
            </a:lvl1pPr>
            <a:lvl2pPr marL="509323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186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279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372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466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559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65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745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6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9106514" y="6947469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1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7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1" y="222391"/>
            <a:ext cx="1701224" cy="261610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pPr defTabSz="1018644"/>
            <a:r>
              <a:rPr lang="en-US" sz="1100" noProof="1" smtClean="0">
                <a:solidFill>
                  <a:srgbClr val="000000"/>
                </a:solidFill>
              </a:rPr>
              <a:t>Slide Tags</a:t>
            </a:r>
            <a:endParaRPr lang="en-US" sz="1100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405055" y="998129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63835" y="1536178"/>
            <a:ext cx="9565732" cy="492444"/>
          </a:xfrm>
        </p:spPr>
        <p:txBody>
          <a:bodyPr wrap="square" tIns="0" bIns="0" anchor="t">
            <a:spAutoFit/>
          </a:bodyPr>
          <a:lstStyle>
            <a:lvl1pPr algn="l">
              <a:defRPr sz="32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11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9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563835" y="1057667"/>
            <a:ext cx="9565732" cy="420265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3200" b="0" i="0">
                <a:solidFill>
                  <a:schemeClr val="tx1"/>
                </a:solidFill>
                <a:latin typeface="+mj-lt"/>
              </a:defRPr>
            </a:lvl1pPr>
            <a:lvl2pPr marL="509323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186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279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372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466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559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65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745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3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9106514" y="6947469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12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9" y="6939074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4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6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1" y="222391"/>
            <a:ext cx="1701224" cy="261610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pPr defTabSz="1018644"/>
            <a:r>
              <a:rPr lang="en-US" sz="1100" noProof="1" smtClean="0">
                <a:solidFill>
                  <a:srgbClr val="000000"/>
                </a:solidFill>
              </a:rPr>
              <a:t>Slide Tags</a:t>
            </a:r>
            <a:endParaRPr lang="en-US" sz="1100" noProof="1">
              <a:solidFill>
                <a:srgbClr val="000000"/>
              </a:solidFill>
            </a:endParaRP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405055" y="998129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 userDrawn="1"/>
        </p:nvGrpSpPr>
        <p:grpSpPr>
          <a:xfrm>
            <a:off x="1201731" y="0"/>
            <a:ext cx="9491670" cy="7119411"/>
            <a:chOff x="1130368" y="0"/>
            <a:chExt cx="8928031" cy="7318210"/>
          </a:xfrm>
        </p:grpSpPr>
        <p:grpSp>
          <p:nvGrpSpPr>
            <p:cNvPr id="5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2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3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2187289" y="818397"/>
            <a:ext cx="65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1018644"/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186670" y="1226781"/>
            <a:ext cx="6318826" cy="479550"/>
          </a:xfrm>
        </p:spPr>
        <p:txBody>
          <a:bodyPr vert="horz" lIns="0" tIns="0" rIns="0" bIns="35994" rtlCol="0" anchor="t" anchorCtr="0">
            <a:spAutoFit/>
          </a:bodyPr>
          <a:lstStyle>
            <a:lvl1pPr algn="l" defTabSz="101864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2186670" y="1704991"/>
            <a:ext cx="6318826" cy="44319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5093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63836" y="3629408"/>
            <a:ext cx="130265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644"/>
            <a:endParaRPr lang="en-US" sz="10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63836" y="3931857"/>
            <a:ext cx="1458191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36" rtlCol="0" anchor="t" anchorCtr="0">
            <a:spAutoFit/>
          </a:bodyPr>
          <a:lstStyle/>
          <a:p>
            <a:pPr defTabSz="1018644"/>
            <a:endParaRPr lang="en-US" sz="10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63836" y="4225411"/>
            <a:ext cx="130265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644"/>
            <a:endParaRPr lang="en-US" sz="10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5" name="Content Placeholder 34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563836" y="4518966"/>
            <a:ext cx="1302651" cy="1263176"/>
          </a:xfrm>
        </p:spPr>
        <p:txBody>
          <a:bodyPr/>
          <a:lstStyle>
            <a:lvl1pPr>
              <a:defRPr sz="10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25" name="Frame Line"/>
          <p:cNvCxnSpPr/>
          <p:nvPr userDrawn="1"/>
        </p:nvCxnSpPr>
        <p:spPr bwMode="black">
          <a:xfrm flipV="1">
            <a:off x="405054" y="3495972"/>
            <a:ext cx="1458191" cy="140088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over image"/>
          <p:cNvSpPr txBox="1"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2024560" y="3492453"/>
            <a:ext cx="7144167" cy="311346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594" defTabSz="1018644">
              <a:spcAft>
                <a:spcPts val="1003"/>
              </a:spcAft>
            </a:pPr>
            <a:endParaRPr lang="en-US" sz="2200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 userDrawn="1"/>
        </p:nvGrpSpPr>
        <p:grpSpPr>
          <a:xfrm>
            <a:off x="1201732" y="6219348"/>
            <a:ext cx="1294879" cy="900064"/>
            <a:chOff x="3835013" y="2828854"/>
            <a:chExt cx="1217986" cy="925197"/>
          </a:xfrm>
        </p:grpSpPr>
        <p:grpSp>
          <p:nvGrpSpPr>
            <p:cNvPr id="5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51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9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Freeform 49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5" name="Descriptor"/>
          <p:cNvSpPr txBox="1"/>
          <p:nvPr userDrawn="1">
            <p:custDataLst>
              <p:tags r:id="rId1"/>
            </p:custDataLst>
          </p:nvPr>
        </p:nvSpPr>
        <p:spPr bwMode="black">
          <a:xfrm>
            <a:off x="2187289" y="818397"/>
            <a:ext cx="65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1018644"/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" name="Repo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black">
          <a:xfrm>
            <a:off x="2186670" y="1226781"/>
            <a:ext cx="6318826" cy="479550"/>
          </a:xfrm>
        </p:spPr>
        <p:txBody>
          <a:bodyPr vert="horz" lIns="0" tIns="0" rIns="0" bIns="35994" rtlCol="0" anchor="t" anchorCtr="0">
            <a:spAutoFit/>
          </a:bodyPr>
          <a:lstStyle>
            <a:lvl1pPr algn="l" defTabSz="101864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black">
          <a:xfrm>
            <a:off x="2186670" y="1704991"/>
            <a:ext cx="6318826" cy="44319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tx1"/>
                </a:solidFill>
                <a:latin typeface="+mj-lt"/>
              </a:defRPr>
            </a:lvl1pPr>
            <a:lvl2pPr marL="5093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63836" y="3629408"/>
            <a:ext cx="130265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644"/>
            <a:endParaRPr lang="en-US" sz="10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63836" y="3931857"/>
            <a:ext cx="1458191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36" rtlCol="0" anchor="t" anchorCtr="0">
            <a:spAutoFit/>
          </a:bodyPr>
          <a:lstStyle/>
          <a:p>
            <a:pPr defTabSz="1018644"/>
            <a:endParaRPr lang="en-US" sz="10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63835" y="4225411"/>
            <a:ext cx="130265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644"/>
            <a:endParaRPr lang="en-US" sz="10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cxnSp>
        <p:nvCxnSpPr>
          <p:cNvPr id="72" name="Frame Line"/>
          <p:cNvCxnSpPr/>
          <p:nvPr userDrawn="1"/>
        </p:nvCxnSpPr>
        <p:spPr bwMode="black">
          <a:xfrm flipV="1">
            <a:off x="2025267" y="1109758"/>
            <a:ext cx="8096122" cy="140088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Frame Line"/>
          <p:cNvCxnSpPr/>
          <p:nvPr userDrawn="1"/>
        </p:nvCxnSpPr>
        <p:spPr bwMode="black">
          <a:xfrm flipV="1">
            <a:off x="405054" y="3495972"/>
            <a:ext cx="1458191" cy="140088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 userDrawn="1"/>
        </p:nvGrpSpPr>
        <p:grpSpPr>
          <a:xfrm>
            <a:off x="1201730" y="0"/>
            <a:ext cx="9491670" cy="7119411"/>
            <a:chOff x="1130368" y="0"/>
            <a:chExt cx="8928032" cy="7318210"/>
          </a:xfrm>
        </p:grpSpPr>
        <p:grpSp>
          <p:nvGrpSpPr>
            <p:cNvPr id="5" name="Logo Shapes"/>
            <p:cNvGrpSpPr/>
            <p:nvPr userDrawn="1"/>
          </p:nvGrpSpPr>
          <p:grpSpPr>
            <a:xfrm>
              <a:off x="1904991" y="0"/>
              <a:ext cx="8153409" cy="6792221"/>
              <a:chOff x="1828799" y="0"/>
              <a:chExt cx="8153409" cy="6792221"/>
            </a:xfrm>
          </p:grpSpPr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799" y="1150143"/>
                <a:ext cx="8153409" cy="563880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0"/>
                <a:ext cx="6248400" cy="679222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50143"/>
                <a:ext cx="6248400" cy="5638799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23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24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6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2187289" y="818397"/>
            <a:ext cx="65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1018644"/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186670" y="1226781"/>
            <a:ext cx="6318826" cy="479550"/>
          </a:xfrm>
        </p:spPr>
        <p:txBody>
          <a:bodyPr vert="horz" lIns="0" tIns="0" rIns="0" bIns="35994" rtlCol="0" anchor="t" anchorCtr="0">
            <a:spAutoFit/>
          </a:bodyPr>
          <a:lstStyle>
            <a:lvl1pPr algn="l" defTabSz="101864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2186670" y="1704991"/>
            <a:ext cx="6318826" cy="44319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5093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63836" y="3629408"/>
            <a:ext cx="130265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644"/>
            <a:endParaRPr lang="en-US" sz="10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2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63836" y="3931857"/>
            <a:ext cx="1458191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36" rtlCol="0" anchor="t" anchorCtr="0">
            <a:spAutoFit/>
          </a:bodyPr>
          <a:lstStyle/>
          <a:p>
            <a:pPr defTabSz="1018644"/>
            <a:endParaRPr lang="en-US" sz="10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2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63836" y="4225411"/>
            <a:ext cx="130265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644"/>
            <a:endParaRPr lang="en-US" sz="10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17" name="Frame Line"/>
          <p:cNvCxnSpPr/>
          <p:nvPr userDrawn="1"/>
        </p:nvCxnSpPr>
        <p:spPr bwMode="black">
          <a:xfrm flipV="1">
            <a:off x="405054" y="3495972"/>
            <a:ext cx="1458191" cy="140088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673" y="301050"/>
            <a:ext cx="3518055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80823" y="301051"/>
            <a:ext cx="5977908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673" y="1582265"/>
            <a:ext cx="3518055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/>
              <a:pPr/>
              <a:t>06-Feb-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6264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784" y="756126"/>
            <a:ext cx="9445837" cy="100816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5173580" y="-4055904"/>
            <a:ext cx="168027" cy="962406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PwCFirm"/>
          <p:cNvSpPr txBox="1"/>
          <p:nvPr userDrawn="1"/>
        </p:nvSpPr>
        <p:spPr>
          <a:xfrm>
            <a:off x="623784" y="7141196"/>
            <a:ext cx="3029797" cy="168029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305594" defTabSz="1018644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</a:rPr>
              <a:t>PwC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 userDrawn="1"/>
        </p:nvGrpSpPr>
        <p:grpSpPr>
          <a:xfrm>
            <a:off x="1201730" y="0"/>
            <a:ext cx="9491670" cy="7119411"/>
            <a:chOff x="1130368" y="0"/>
            <a:chExt cx="8928031" cy="7318210"/>
          </a:xfrm>
        </p:grpSpPr>
        <p:grpSp>
          <p:nvGrpSpPr>
            <p:cNvPr id="5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3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3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2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3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2187287" y="818396"/>
            <a:ext cx="65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1018644"/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186670" y="1226781"/>
            <a:ext cx="6318826" cy="479550"/>
          </a:xfrm>
        </p:spPr>
        <p:txBody>
          <a:bodyPr vert="horz" lIns="0" tIns="0" rIns="0" bIns="35994" rtlCol="0" anchor="t" anchorCtr="0">
            <a:spAutoFit/>
          </a:bodyPr>
          <a:lstStyle>
            <a:lvl1pPr algn="l" defTabSz="101864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2186670" y="1704991"/>
            <a:ext cx="6318826" cy="44319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5093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 dirty="0" smtClean="0"/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63835" y="3629407"/>
            <a:ext cx="130265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644"/>
            <a:endParaRPr lang="en-US" sz="10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63835" y="3931857"/>
            <a:ext cx="1458191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36" rtlCol="0" anchor="t" anchorCtr="0">
            <a:spAutoFit/>
          </a:bodyPr>
          <a:lstStyle/>
          <a:p>
            <a:pPr defTabSz="1018644"/>
            <a:endParaRPr lang="en-US" sz="10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63835" y="4225411"/>
            <a:ext cx="130265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644"/>
            <a:endParaRPr lang="en-US" sz="10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4" name="Cover image"/>
          <p:cNvSpPr txBox="1"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2024558" y="3492452"/>
            <a:ext cx="7144167" cy="311346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594" defTabSz="1018644">
              <a:spcAft>
                <a:spcPts val="1003"/>
              </a:spcAft>
            </a:pPr>
            <a:endParaRPr lang="en-US" sz="2200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  <p:cxnSp>
        <p:nvCxnSpPr>
          <p:cNvPr id="25" name="Frame Line"/>
          <p:cNvCxnSpPr/>
          <p:nvPr userDrawn="1"/>
        </p:nvCxnSpPr>
        <p:spPr bwMode="black">
          <a:xfrm flipV="1">
            <a:off x="405054" y="3496712"/>
            <a:ext cx="1458191" cy="140088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5" y="2152736"/>
            <a:ext cx="9565732" cy="4296577"/>
          </a:xfrm>
        </p:spPr>
        <p:txBody>
          <a:bodyPr tIns="0" bIns="0"/>
          <a:lstStyle>
            <a:lvl5pPr>
              <a:defRPr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777985" y="7103074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4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" name="Report Date"/>
          <p:cNvSpPr txBox="1"/>
          <p:nvPr userDrawn="1">
            <p:custDataLst>
              <p:tags r:id="rId3"/>
            </p:custDataLst>
          </p:nvPr>
        </p:nvSpPr>
        <p:spPr>
          <a:xfrm>
            <a:off x="9106514" y="6947468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0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571428" y="6939073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9" name="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424470" y="7075193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9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8" name="Executive Summary" hidden="1"/>
          <p:cNvSpPr txBox="1"/>
          <p:nvPr userDrawn="1">
            <p:custDataLst>
              <p:tags r:id="rId7"/>
            </p:custDataLst>
          </p:nvPr>
        </p:nvSpPr>
        <p:spPr>
          <a:xfrm>
            <a:off x="563832" y="6742868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 userDrawn="1">
            <p:custDataLst>
              <p:tags r:id="rId8"/>
            </p:custDataLst>
          </p:nvPr>
        </p:nvSpPr>
        <p:spPr>
          <a:xfrm>
            <a:off x="9751994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9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10"/>
            </p:custDataLst>
          </p:nvPr>
        </p:nvSpPr>
        <p:spPr>
          <a:xfrm>
            <a:off x="3507765" y="382088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405054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4" y="2152736"/>
            <a:ext cx="4705096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424470" y="2152736"/>
            <a:ext cx="4705096" cy="4296577"/>
          </a:xfrm>
        </p:spPr>
        <p:txBody>
          <a:bodyPr tIns="0" bIns="0"/>
          <a:lstStyle>
            <a:lvl5pP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9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8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2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9106514" y="6947468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4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8" y="6939073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424470" y="7075193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43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41" name="Executive Summary" hidden="1"/>
          <p:cNvSpPr txBox="1"/>
          <p:nvPr userDrawn="1">
            <p:custDataLst>
              <p:tags r:id="rId8"/>
            </p:custDataLst>
          </p:nvPr>
        </p:nvSpPr>
        <p:spPr>
          <a:xfrm>
            <a:off x="563832" y="6742868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24" name="Draft stamp"/>
          <p:cNvSpPr txBox="1"/>
          <p:nvPr userDrawn="1">
            <p:custDataLst>
              <p:tags r:id="rId9"/>
            </p:custDataLst>
          </p:nvPr>
        </p:nvSpPr>
        <p:spPr>
          <a:xfrm>
            <a:off x="9751994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3507765" y="382088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19" name="Frame Line"/>
          <p:cNvCxnSpPr/>
          <p:nvPr userDrawn="1"/>
        </p:nvCxnSpPr>
        <p:spPr>
          <a:xfrm flipV="1">
            <a:off x="405054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5" y="2152736"/>
            <a:ext cx="6318826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7047923" y="2152736"/>
            <a:ext cx="3081643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6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5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9106514" y="6947468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7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8" y="6939073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424470" y="7075193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1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8"/>
            </p:custDataLst>
          </p:nvPr>
        </p:nvSpPr>
        <p:spPr>
          <a:xfrm>
            <a:off x="563832" y="6742868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24" name="Draft stamp"/>
          <p:cNvSpPr txBox="1"/>
          <p:nvPr userDrawn="1">
            <p:custDataLst>
              <p:tags r:id="rId9"/>
            </p:custDataLst>
          </p:nvPr>
        </p:nvSpPr>
        <p:spPr>
          <a:xfrm>
            <a:off x="9751994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3507765" y="382088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405054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5" y="2152736"/>
            <a:ext cx="3081643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810740" y="2152736"/>
            <a:ext cx="6318826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26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5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9106514" y="6947468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7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8" y="6939073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424470" y="7075193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1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9" name="Executive Summary" hidden="1"/>
          <p:cNvSpPr txBox="1"/>
          <p:nvPr userDrawn="1">
            <p:custDataLst>
              <p:tags r:id="rId8"/>
            </p:custDataLst>
          </p:nvPr>
        </p:nvSpPr>
        <p:spPr>
          <a:xfrm>
            <a:off x="563832" y="6742868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24" name="Draft stamp"/>
          <p:cNvSpPr txBox="1"/>
          <p:nvPr userDrawn="1">
            <p:custDataLst>
              <p:tags r:id="rId9"/>
            </p:custDataLst>
          </p:nvPr>
        </p:nvSpPr>
        <p:spPr>
          <a:xfrm>
            <a:off x="9751994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6" name="Section Header"/>
          <p:cNvSpPr txBox="1"/>
          <p:nvPr userDrawn="1">
            <p:custDataLst>
              <p:tags r:id="rId10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11"/>
            </p:custDataLst>
          </p:nvPr>
        </p:nvSpPr>
        <p:spPr>
          <a:xfrm>
            <a:off x="3507765" y="382088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405054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4" y="2152737"/>
            <a:ext cx="4705096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563834" y="4376638"/>
            <a:ext cx="4705096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5424470" y="2152736"/>
            <a:ext cx="4705096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9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7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2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9106514" y="6947468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30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71428" y="6939073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44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424470" y="7075193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43" name="Presentation Disclaimer"/>
          <p:cNvSpPr txBox="1"/>
          <p:nvPr userDrawn="1">
            <p:custDataLst>
              <p:tags r:id="rId8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1" name="Executive Summary" hidden="1"/>
          <p:cNvSpPr txBox="1"/>
          <p:nvPr userDrawn="1">
            <p:custDataLst>
              <p:tags r:id="rId9"/>
            </p:custDataLst>
          </p:nvPr>
        </p:nvSpPr>
        <p:spPr>
          <a:xfrm>
            <a:off x="563832" y="6742868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26" name="Draft stamp"/>
          <p:cNvSpPr txBox="1"/>
          <p:nvPr userDrawn="1">
            <p:custDataLst>
              <p:tags r:id="rId10"/>
            </p:custDataLst>
          </p:nvPr>
        </p:nvSpPr>
        <p:spPr>
          <a:xfrm>
            <a:off x="9751994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9" name="Section Header"/>
          <p:cNvSpPr txBox="1"/>
          <p:nvPr userDrawn="1">
            <p:custDataLst>
              <p:tags r:id="rId11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5" name="Date/Filepath" hidden="1"/>
          <p:cNvSpPr txBox="1"/>
          <p:nvPr userDrawn="1">
            <p:custDataLst>
              <p:tags r:id="rId12"/>
            </p:custDataLst>
          </p:nvPr>
        </p:nvSpPr>
        <p:spPr>
          <a:xfrm>
            <a:off x="3507765" y="382088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405054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63834" y="2152736"/>
            <a:ext cx="4705096" cy="429657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424470" y="2152737"/>
            <a:ext cx="4705096" cy="20726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424470" y="4376638"/>
            <a:ext cx="4705096" cy="20726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2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1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9106514" y="6947468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3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71428" y="6939073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424470" y="7075193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6" name="Presentation Disclaimer"/>
          <p:cNvSpPr txBox="1"/>
          <p:nvPr userDrawn="1">
            <p:custDataLst>
              <p:tags r:id="rId8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9"/>
            </p:custDataLst>
          </p:nvPr>
        </p:nvSpPr>
        <p:spPr>
          <a:xfrm>
            <a:off x="563832" y="6742868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19" name="Draft stamp"/>
          <p:cNvSpPr txBox="1"/>
          <p:nvPr userDrawn="1">
            <p:custDataLst>
              <p:tags r:id="rId10"/>
            </p:custDataLst>
          </p:nvPr>
        </p:nvSpPr>
        <p:spPr>
          <a:xfrm>
            <a:off x="9751994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11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12"/>
            </p:custDataLst>
          </p:nvPr>
        </p:nvSpPr>
        <p:spPr>
          <a:xfrm>
            <a:off x="3507765" y="382088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405054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563835" y="2152736"/>
            <a:ext cx="3081643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3810740" y="2152736"/>
            <a:ext cx="3081643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7047923" y="2152736"/>
            <a:ext cx="3081643" cy="4296577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7" name="Page Number"/>
          <p:cNvSpPr txBox="1"/>
          <p:nvPr userDrawn="1">
            <p:custDataLst>
              <p:tags r:id="rId4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6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5"/>
            </p:custDataLst>
          </p:nvPr>
        </p:nvSpPr>
        <p:spPr>
          <a:xfrm>
            <a:off x="9106514" y="6947468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9" name="Section Footer"/>
          <p:cNvSpPr txBox="1"/>
          <p:nvPr userDrawn="1">
            <p:custDataLst>
              <p:tags r:id="rId6"/>
            </p:custDataLst>
          </p:nvPr>
        </p:nvSpPr>
        <p:spPr>
          <a:xfrm>
            <a:off x="571428" y="6939073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7"/>
            </p:custDataLst>
          </p:nvPr>
        </p:nvSpPr>
        <p:spPr>
          <a:xfrm>
            <a:off x="5424470" y="7075193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2" name="Presentation Disclaimer"/>
          <p:cNvSpPr txBox="1"/>
          <p:nvPr userDrawn="1">
            <p:custDataLst>
              <p:tags r:id="rId8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9"/>
            </p:custDataLst>
          </p:nvPr>
        </p:nvSpPr>
        <p:spPr>
          <a:xfrm>
            <a:off x="563832" y="6742868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25" name="Draft stamp"/>
          <p:cNvSpPr txBox="1"/>
          <p:nvPr userDrawn="1">
            <p:custDataLst>
              <p:tags r:id="rId10"/>
            </p:custDataLst>
          </p:nvPr>
        </p:nvSpPr>
        <p:spPr>
          <a:xfrm>
            <a:off x="9751994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8" name="Section Header"/>
          <p:cNvSpPr txBox="1"/>
          <p:nvPr userDrawn="1">
            <p:custDataLst>
              <p:tags r:id="rId11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3" name="Date/Filepath" hidden="1"/>
          <p:cNvSpPr txBox="1"/>
          <p:nvPr userDrawn="1">
            <p:custDataLst>
              <p:tags r:id="rId12"/>
            </p:custDataLst>
          </p:nvPr>
        </p:nvSpPr>
        <p:spPr>
          <a:xfrm>
            <a:off x="3507765" y="382088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405054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63834" y="2152737"/>
            <a:ext cx="4705096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5424470" y="2152737"/>
            <a:ext cx="4705096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563834" y="4376638"/>
            <a:ext cx="4705096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424470" y="4376638"/>
            <a:ext cx="4705096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7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6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9106514" y="6947468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9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71428" y="6939073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424470" y="7075193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3" name="Presentation Disclaimer"/>
          <p:cNvSpPr txBox="1"/>
          <p:nvPr userDrawn="1">
            <p:custDataLst>
              <p:tags r:id="rId5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0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563832" y="6742868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32" name="Draft stamp"/>
          <p:cNvSpPr txBox="1"/>
          <p:nvPr userDrawn="1">
            <p:custDataLst>
              <p:tags r:id="rId7"/>
            </p:custDataLst>
          </p:nvPr>
        </p:nvSpPr>
        <p:spPr>
          <a:xfrm>
            <a:off x="9751994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9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4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3507765" y="382088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2" name="Frame Line"/>
          <p:cNvCxnSpPr/>
          <p:nvPr userDrawn="1"/>
        </p:nvCxnSpPr>
        <p:spPr>
          <a:xfrm flipV="1">
            <a:off x="405054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981" y="5292885"/>
            <a:ext cx="6416040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21436" indent="0">
              <a:buNone/>
              <a:defRPr sz="3200"/>
            </a:lvl2pPr>
            <a:lvl3pPr marL="1042872" indent="0">
              <a:buNone/>
              <a:defRPr sz="2700"/>
            </a:lvl3pPr>
            <a:lvl4pPr marL="1564308" indent="0">
              <a:buNone/>
              <a:defRPr sz="2300"/>
            </a:lvl4pPr>
            <a:lvl5pPr marL="2085744" indent="0">
              <a:buNone/>
              <a:defRPr sz="2300"/>
            </a:lvl5pPr>
            <a:lvl6pPr marL="2607179" indent="0">
              <a:buNone/>
              <a:defRPr sz="2300"/>
            </a:lvl6pPr>
            <a:lvl7pPr marL="3128616" indent="0">
              <a:buNone/>
              <a:defRPr sz="2300"/>
            </a:lvl7pPr>
            <a:lvl8pPr marL="3650052" indent="0">
              <a:buNone/>
              <a:defRPr sz="2300"/>
            </a:lvl8pPr>
            <a:lvl9pPr marL="4171487" indent="0">
              <a:buNone/>
              <a:defRPr sz="23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600"/>
            </a:lvl1pPr>
            <a:lvl2pPr marL="521436" indent="0">
              <a:buNone/>
              <a:defRPr sz="1400"/>
            </a:lvl2pPr>
            <a:lvl3pPr marL="1042872" indent="0">
              <a:buNone/>
              <a:defRPr sz="1100"/>
            </a:lvl3pPr>
            <a:lvl4pPr marL="1564308" indent="0">
              <a:buNone/>
              <a:defRPr sz="1000"/>
            </a:lvl4pPr>
            <a:lvl5pPr marL="2085744" indent="0">
              <a:buNone/>
              <a:defRPr sz="1000"/>
            </a:lvl5pPr>
            <a:lvl6pPr marL="2607179" indent="0">
              <a:buNone/>
              <a:defRPr sz="1000"/>
            </a:lvl6pPr>
            <a:lvl7pPr marL="3128616" indent="0">
              <a:buNone/>
              <a:defRPr sz="1000"/>
            </a:lvl7pPr>
            <a:lvl8pPr marL="3650052" indent="0">
              <a:buNone/>
              <a:defRPr sz="1000"/>
            </a:lvl8pPr>
            <a:lvl9pPr marL="4171487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9589-708D-4F6A-AA56-8D8F48657B66}" type="datetimeFigureOut">
              <a:rPr lang="en-US" smtClean="0"/>
              <a:pPr/>
              <a:t>06-Feb-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7C228E-19D1-4C4E-B9B6-BA2EB2D435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984701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63835" y="2152737"/>
            <a:ext cx="9565732" cy="20726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63834" y="4376638"/>
            <a:ext cx="4705096" cy="20726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424470" y="4376638"/>
            <a:ext cx="4705096" cy="20726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2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1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9106514" y="6947468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3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71428" y="6939073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424470" y="7075193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6" name="Presentation Disclaimer"/>
          <p:cNvSpPr txBox="1"/>
          <p:nvPr userDrawn="1">
            <p:custDataLst>
              <p:tags r:id="rId5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563832" y="6742868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19" name="Draft stamp"/>
          <p:cNvSpPr txBox="1"/>
          <p:nvPr userDrawn="1">
            <p:custDataLst>
              <p:tags r:id="rId7"/>
            </p:custDataLst>
          </p:nvPr>
        </p:nvSpPr>
        <p:spPr>
          <a:xfrm>
            <a:off x="9751994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3507765" y="382088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405054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63832" y="2152737"/>
            <a:ext cx="4705096" cy="20726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quarter" idx="11"/>
          </p:nvPr>
        </p:nvSpPr>
        <p:spPr>
          <a:xfrm>
            <a:off x="5424470" y="2152737"/>
            <a:ext cx="4705096" cy="20726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4"/>
          <p:cNvSpPr>
            <a:spLocks noGrp="1"/>
          </p:cNvSpPr>
          <p:nvPr>
            <p:ph sz="quarter" idx="12"/>
          </p:nvPr>
        </p:nvSpPr>
        <p:spPr>
          <a:xfrm>
            <a:off x="563698" y="4376638"/>
            <a:ext cx="9565732" cy="207267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2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1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9106514" y="6947468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3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71428" y="6939073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424470" y="7075193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6" name="Presentation Disclaimer"/>
          <p:cNvSpPr txBox="1"/>
          <p:nvPr userDrawn="1">
            <p:custDataLst>
              <p:tags r:id="rId5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4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563832" y="6742868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19" name="Draft stamp"/>
          <p:cNvSpPr txBox="1"/>
          <p:nvPr userDrawn="1">
            <p:custDataLst>
              <p:tags r:id="rId7"/>
            </p:custDataLst>
          </p:nvPr>
        </p:nvSpPr>
        <p:spPr>
          <a:xfrm>
            <a:off x="9751994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5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7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3507765" y="382088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9" name="Frame Line"/>
          <p:cNvCxnSpPr/>
          <p:nvPr userDrawn="1"/>
        </p:nvCxnSpPr>
        <p:spPr>
          <a:xfrm flipV="1">
            <a:off x="405054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563835" y="2152737"/>
            <a:ext cx="3081643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3808208" y="2152737"/>
            <a:ext cx="3081643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7047923" y="2152737"/>
            <a:ext cx="3081643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563835" y="4376638"/>
            <a:ext cx="3081643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2" name="Content Placeholder 6"/>
          <p:cNvSpPr>
            <a:spLocks noGrp="1"/>
          </p:cNvSpPr>
          <p:nvPr>
            <p:ph sz="quarter" idx="28"/>
          </p:nvPr>
        </p:nvSpPr>
        <p:spPr>
          <a:xfrm>
            <a:off x="3808208" y="4376638"/>
            <a:ext cx="3081643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4" name="Content Placeholder 7"/>
          <p:cNvSpPr>
            <a:spLocks noGrp="1"/>
          </p:cNvSpPr>
          <p:nvPr>
            <p:ph sz="quarter" idx="29"/>
          </p:nvPr>
        </p:nvSpPr>
        <p:spPr>
          <a:xfrm>
            <a:off x="7047923" y="4376638"/>
            <a:ext cx="3081643" cy="2072676"/>
          </a:xfrm>
        </p:spPr>
        <p:txBody>
          <a:bodyPr tIns="0" bIns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30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9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9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9106514" y="6947468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31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71428" y="6939073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0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424470" y="7075193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41" name="Presentation Disclaimer"/>
          <p:cNvSpPr txBox="1"/>
          <p:nvPr userDrawn="1">
            <p:custDataLst>
              <p:tags r:id="rId5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2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563832" y="6742868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37" name="Draft stamp"/>
          <p:cNvSpPr txBox="1"/>
          <p:nvPr userDrawn="1">
            <p:custDataLst>
              <p:tags r:id="rId7"/>
            </p:custDataLst>
          </p:nvPr>
        </p:nvSpPr>
        <p:spPr>
          <a:xfrm>
            <a:off x="9751994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21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3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3507765" y="382088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24" name="Frame Line"/>
          <p:cNvCxnSpPr/>
          <p:nvPr userDrawn="1"/>
        </p:nvCxnSpPr>
        <p:spPr>
          <a:xfrm flipV="1">
            <a:off x="405054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dirty="0"/>
          </a:p>
        </p:txBody>
      </p:sp>
      <p:sp>
        <p:nvSpPr>
          <p:cNvPr id="25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4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9106514" y="6947468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26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71428" y="6939073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6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424470" y="7075193"/>
            <a:ext cx="3451052" cy="1384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30" name="Presentation Disclaimer"/>
          <p:cNvSpPr txBox="1"/>
          <p:nvPr userDrawn="1">
            <p:custDataLst>
              <p:tags r:id="rId5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27" name="Executive Summary" hidden="1"/>
          <p:cNvSpPr txBox="1"/>
          <p:nvPr userDrawn="1">
            <p:custDataLst>
              <p:tags r:id="rId6"/>
            </p:custDataLst>
          </p:nvPr>
        </p:nvSpPr>
        <p:spPr>
          <a:xfrm>
            <a:off x="563832" y="6742868"/>
            <a:ext cx="65" cy="20518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18644">
              <a:lnSpc>
                <a:spcPts val="1599"/>
              </a:lnSpc>
            </a:pPr>
            <a:endParaRPr lang="en-US" sz="1600" noProof="1" smtClean="0">
              <a:solidFill>
                <a:srgbClr val="000000"/>
              </a:solidFill>
            </a:endParaRPr>
          </a:p>
        </p:txBody>
      </p:sp>
      <p:sp>
        <p:nvSpPr>
          <p:cNvPr id="21" name="Draft stamp"/>
          <p:cNvSpPr txBox="1"/>
          <p:nvPr userDrawn="1">
            <p:custDataLst>
              <p:tags r:id="rId7"/>
            </p:custDataLst>
          </p:nvPr>
        </p:nvSpPr>
        <p:spPr>
          <a:xfrm>
            <a:off x="9751994" y="782814"/>
            <a:ext cx="362279" cy="20005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algn="r" defTabSz="1018644"/>
            <a:r>
              <a:rPr lang="en-US" sz="1300" noProof="1" smtClean="0">
                <a:solidFill>
                  <a:srgbClr val="000000"/>
                </a:solidFill>
              </a:rPr>
              <a:t>Draft</a:t>
            </a:r>
            <a:endParaRPr lang="en-US" sz="1300" noProof="1">
              <a:solidFill>
                <a:srgbClr val="000000"/>
              </a:solidFill>
            </a:endParaRPr>
          </a:p>
        </p:txBody>
      </p:sp>
      <p:sp>
        <p:nvSpPr>
          <p:cNvPr id="14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563834" y="827292"/>
            <a:ext cx="5832764" cy="1334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3507765" y="382088"/>
            <a:ext cx="6610465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defTabSz="1018644"/>
            <a:r>
              <a:rPr lang="en-US" sz="900" noProof="1" smtClean="0">
                <a:solidFill>
                  <a:srgbClr val="000000"/>
                </a:solidFill>
              </a:rPr>
              <a:t>11/20/2012 C:\Documents and Settings\LMORRIS023\Desktop\TAMU\TAMU TGen Joint Research Program_Proposal_VER5.1.pptx</a:t>
            </a:r>
            <a:endParaRPr lang="en-US" sz="900" noProof="1">
              <a:solidFill>
                <a:srgbClr val="000000"/>
              </a:solidFill>
            </a:endParaRP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405054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smtClean="0"/>
              <a:t>Insert banner statement here</a:t>
            </a:r>
            <a:endParaRPr lang="en-US" noProof="0"/>
          </a:p>
        </p:txBody>
      </p:sp>
      <p:cxnSp>
        <p:nvCxnSpPr>
          <p:cNvPr id="7" name="Frame Line"/>
          <p:cNvCxnSpPr/>
          <p:nvPr userDrawn="1"/>
        </p:nvCxnSpPr>
        <p:spPr>
          <a:xfrm flipV="1">
            <a:off x="405054" y="999662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63835" y="1535590"/>
            <a:ext cx="9565732" cy="492444"/>
          </a:xfrm>
        </p:spPr>
        <p:txBody>
          <a:bodyPr wrap="square" tIns="0" bIns="0" anchor="t">
            <a:spAutoFit/>
          </a:bodyPr>
          <a:lstStyle>
            <a:lvl1pPr algn="l">
              <a:defRPr sz="3200" b="1" i="1" cap="none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add Section Divider Title</a:t>
            </a:r>
            <a:endParaRPr lang="en-US" noProof="0" dirty="0"/>
          </a:p>
        </p:txBody>
      </p:sp>
      <p:sp>
        <p:nvSpPr>
          <p:cNvPr id="9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8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Section No."/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563835" y="1057667"/>
            <a:ext cx="9565732" cy="420265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3200" b="0" i="0">
                <a:solidFill>
                  <a:schemeClr val="tx1"/>
                </a:solidFill>
                <a:latin typeface="+mj-lt"/>
              </a:defRPr>
            </a:lvl1pPr>
            <a:lvl2pPr marL="509323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186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279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372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466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559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65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745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Section Divider style</a:t>
            </a:r>
            <a:endParaRPr lang="en-US" noProof="0" dirty="0" smtClean="0"/>
          </a:p>
        </p:txBody>
      </p:sp>
      <p:sp>
        <p:nvSpPr>
          <p:cNvPr id="16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9106514" y="6947468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10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8" y="6939073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7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222390"/>
            <a:ext cx="1701224" cy="261610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pPr defTabSz="1018644"/>
            <a:r>
              <a:rPr lang="en-US" sz="1100" noProof="1" smtClean="0">
                <a:solidFill>
                  <a:srgbClr val="000000"/>
                </a:solidFill>
              </a:rPr>
              <a:t>Slide Tags</a:t>
            </a:r>
            <a:endParaRPr lang="en-US" sz="1100" noProof="1">
              <a:solidFill>
                <a:srgbClr val="000000"/>
              </a:solidFill>
            </a:endParaRP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405054" y="998129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563835" y="1536177"/>
            <a:ext cx="9565732" cy="492444"/>
          </a:xfrm>
        </p:spPr>
        <p:txBody>
          <a:bodyPr wrap="square" tIns="0" bIns="0" anchor="t">
            <a:spAutoFit/>
          </a:bodyPr>
          <a:lstStyle>
            <a:lvl1pPr algn="l">
              <a:defRPr sz="3200" b="1" i="1" cap="none" baseline="0">
                <a:latin typeface="+mj-lt"/>
              </a:defRPr>
            </a:lvl1pPr>
          </a:lstStyle>
          <a:p>
            <a:r>
              <a:rPr lang="en-US" noProof="0" smtClean="0"/>
              <a:t>Click to add Appendix Divider Title</a:t>
            </a:r>
            <a:endParaRPr lang="en-US" noProof="0" dirty="0"/>
          </a:p>
        </p:txBody>
      </p:sp>
      <p:sp>
        <p:nvSpPr>
          <p:cNvPr id="11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777985" y="7089797"/>
            <a:ext cx="340245" cy="103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1018644">
              <a:lnSpc>
                <a:spcPts val="1000"/>
              </a:lnSpc>
            </a:pPr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9" name="PwC Text"/>
          <p:cNvSpPr txBox="1"/>
          <p:nvPr userDrawn="1"/>
        </p:nvSpPr>
        <p:spPr>
          <a:xfrm>
            <a:off x="571832" y="7089798"/>
            <a:ext cx="291638" cy="104246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 defTabSz="1018644">
              <a:lnSpc>
                <a:spcPts val="1000"/>
              </a:lnSpc>
            </a:pPr>
            <a:r>
              <a:rPr lang="en-US" sz="900" noProof="1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US" sz="900" noProof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" name="Section No."/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563835" y="1057667"/>
            <a:ext cx="9565732" cy="420265"/>
          </a:xfrm>
        </p:spPr>
        <p:txBody>
          <a:bodyPr wrap="none" tIns="0" bIns="0" anchor="t"/>
          <a:lstStyle>
            <a:lvl1pPr marL="0" indent="0">
              <a:spcAft>
                <a:spcPts val="0"/>
              </a:spcAft>
              <a:buNone/>
              <a:defRPr sz="3200" b="0" i="0">
                <a:solidFill>
                  <a:schemeClr val="tx1"/>
                </a:solidFill>
                <a:latin typeface="+mj-lt"/>
              </a:defRPr>
            </a:lvl1pPr>
            <a:lvl2pPr marL="509323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186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52796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372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5466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0559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565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0745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Appendix Divider style</a:t>
            </a:r>
            <a:endParaRPr lang="en-US" noProof="0" dirty="0" smtClean="0"/>
          </a:p>
        </p:txBody>
      </p:sp>
      <p:sp>
        <p:nvSpPr>
          <p:cNvPr id="13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9106514" y="6947468"/>
            <a:ext cx="1013098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271" algn="r" defTabSz="1018644">
              <a:spcAft>
                <a:spcPts val="900"/>
              </a:spcAft>
            </a:pPr>
            <a:r>
              <a:rPr lang="en-US" sz="900" noProof="1" smtClean="0">
                <a:solidFill>
                  <a:srgbClr val="000000"/>
                </a:solidFill>
              </a:rPr>
              <a:t>November 19, 2012</a:t>
            </a:r>
          </a:p>
        </p:txBody>
      </p:sp>
      <p:sp>
        <p:nvSpPr>
          <p:cNvPr id="12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71428" y="6939073"/>
            <a:ext cx="4695376" cy="1384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4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71428" y="6813664"/>
            <a:ext cx="8583884" cy="13849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1018644"/>
            <a:endParaRPr lang="en-US" sz="900" noProof="1" smtClean="0">
              <a:solidFill>
                <a:srgbClr val="000000"/>
              </a:solidFill>
            </a:endParaRPr>
          </a:p>
        </p:txBody>
      </p:sp>
      <p:sp>
        <p:nvSpPr>
          <p:cNvPr id="16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222390"/>
            <a:ext cx="1701224" cy="261610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pPr defTabSz="1018644"/>
            <a:r>
              <a:rPr lang="en-US" sz="1100" noProof="1" smtClean="0">
                <a:solidFill>
                  <a:srgbClr val="000000"/>
                </a:solidFill>
              </a:rPr>
              <a:t>Slide Tags</a:t>
            </a:r>
            <a:endParaRPr lang="en-US" sz="1100" noProof="1">
              <a:solidFill>
                <a:srgbClr val="000000"/>
              </a:solidFill>
            </a:endParaRPr>
          </a:p>
        </p:txBody>
      </p:sp>
      <p:cxnSp>
        <p:nvCxnSpPr>
          <p:cNvPr id="17" name="Frame Line"/>
          <p:cNvCxnSpPr/>
          <p:nvPr userDrawn="1"/>
        </p:nvCxnSpPr>
        <p:spPr>
          <a:xfrm flipV="1">
            <a:off x="405054" y="998129"/>
            <a:ext cx="9721275" cy="140088"/>
          </a:xfrm>
          <a:prstGeom prst="bentConnector3">
            <a:avLst>
              <a:gd name="adj1" fmla="val 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 userDrawn="1"/>
        </p:nvGrpSpPr>
        <p:grpSpPr>
          <a:xfrm>
            <a:off x="1201730" y="0"/>
            <a:ext cx="9491670" cy="7119411"/>
            <a:chOff x="1130368" y="0"/>
            <a:chExt cx="8928031" cy="7318210"/>
          </a:xfrm>
        </p:grpSpPr>
        <p:grpSp>
          <p:nvGrpSpPr>
            <p:cNvPr id="5" name="Logo Shapes"/>
            <p:cNvGrpSpPr/>
            <p:nvPr userDrawn="1"/>
          </p:nvGrpSpPr>
          <p:grpSpPr>
            <a:xfrm>
              <a:off x="1904992" y="0"/>
              <a:ext cx="8153407" cy="6792223"/>
              <a:chOff x="1828800" y="-7143"/>
              <a:chExt cx="8153407" cy="6792223"/>
            </a:xfrm>
          </p:grpSpPr>
          <p:sp>
            <p:nvSpPr>
              <p:cNvPr id="23" name="Rectangle 1"/>
              <p:cNvSpPr>
                <a:spLocks noChangeArrowheads="1"/>
              </p:cNvSpPr>
              <p:nvPr/>
            </p:nvSpPr>
            <p:spPr bwMode="gray">
              <a:xfrm>
                <a:off x="1832930" y="4496096"/>
                <a:ext cx="8149277" cy="2288752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Rectangle 2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7132320" cy="3201066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Rectangle 3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7132320" cy="2288752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Rectangle 4"/>
              <p:cNvSpPr>
                <a:spLocks noChangeArrowheads="1"/>
              </p:cNvSpPr>
              <p:nvPr/>
            </p:nvSpPr>
            <p:spPr bwMode="gray">
              <a:xfrm>
                <a:off x="1828800" y="-7143"/>
                <a:ext cx="6248400" cy="6772722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Rectangle 5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492240" cy="5627914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Rectangle 6"/>
              <p:cNvSpPr>
                <a:spLocks noChangeArrowheads="1"/>
              </p:cNvSpPr>
              <p:nvPr userDrawn="1"/>
            </p:nvSpPr>
            <p:spPr bwMode="gray">
              <a:xfrm>
                <a:off x="1828800" y="3583782"/>
                <a:ext cx="6492240" cy="3201066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7"/>
              <p:cNvSpPr>
                <a:spLocks noChangeArrowheads="1"/>
              </p:cNvSpPr>
              <p:nvPr userDrawn="1"/>
            </p:nvSpPr>
            <p:spPr bwMode="gray">
              <a:xfrm>
                <a:off x="1828800" y="1137665"/>
                <a:ext cx="6248400" cy="5627914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Rectangle 8"/>
              <p:cNvSpPr>
                <a:spLocks noChangeArrowheads="1"/>
              </p:cNvSpPr>
              <p:nvPr userDrawn="1"/>
            </p:nvSpPr>
            <p:spPr bwMode="gray">
              <a:xfrm>
                <a:off x="1828800" y="4496096"/>
                <a:ext cx="6492240" cy="2288752"/>
              </a:xfrm>
              <a:prstGeom prst="rect">
                <a:avLst/>
              </a:prstGeom>
              <a:solidFill>
                <a:srgbClr val="D139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9"/>
              <p:cNvSpPr/>
              <p:nvPr userDrawn="1"/>
            </p:nvSpPr>
            <p:spPr bwMode="gray">
              <a:xfrm>
                <a:off x="1828800" y="3583782"/>
                <a:ext cx="6246019" cy="3201066"/>
              </a:xfrm>
              <a:prstGeom prst="rect">
                <a:avLst/>
              </a:prstGeom>
              <a:solidFill>
                <a:srgbClr val="CD2F0E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2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10"/>
              <p:cNvSpPr>
                <a:spLocks noChangeArrowheads="1"/>
              </p:cNvSpPr>
              <p:nvPr userDrawn="1"/>
            </p:nvSpPr>
            <p:spPr bwMode="gray">
              <a:xfrm>
                <a:off x="1828800" y="4495801"/>
                <a:ext cx="6245352" cy="2288752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Rectangle 11"/>
              <p:cNvSpPr>
                <a:spLocks noChangeArrowheads="1"/>
              </p:cNvSpPr>
              <p:nvPr userDrawn="1"/>
            </p:nvSpPr>
            <p:spPr bwMode="gray">
              <a:xfrm>
                <a:off x="1828800" y="4800832"/>
                <a:ext cx="2286000" cy="1984248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Logo"/>
            <p:cNvGrpSpPr/>
            <p:nvPr userDrawn="1"/>
          </p:nvGrpSpPr>
          <p:grpSpPr>
            <a:xfrm>
              <a:off x="1130368" y="6790556"/>
              <a:ext cx="905256" cy="527654"/>
              <a:chOff x="1130368" y="6790556"/>
              <a:chExt cx="905256" cy="527654"/>
            </a:xfrm>
          </p:grpSpPr>
          <p:sp>
            <p:nvSpPr>
              <p:cNvPr id="38" name="Rectangle 0"/>
              <p:cNvSpPr>
                <a:spLocks noChangeArrowheads="1"/>
              </p:cNvSpPr>
              <p:nvPr userDrawn="1"/>
            </p:nvSpPr>
            <p:spPr bwMode="black">
              <a:xfrm>
                <a:off x="1676368" y="6790556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 38"/>
              <p:cNvSpPr>
                <a:spLocks noEditPoints="1"/>
              </p:cNvSpPr>
              <p:nvPr userDrawn="1"/>
            </p:nvSpPr>
            <p:spPr bwMode="black">
              <a:xfrm>
                <a:off x="1130368" y="6976999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33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2187287" y="818396"/>
            <a:ext cx="65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1018644"/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" name="Repor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white">
          <a:xfrm>
            <a:off x="2186670" y="1226781"/>
            <a:ext cx="6318826" cy="479550"/>
          </a:xfrm>
        </p:spPr>
        <p:txBody>
          <a:bodyPr vert="horz" lIns="0" tIns="0" rIns="0" bIns="35994" rtlCol="0" anchor="t" anchorCtr="0">
            <a:spAutoFit/>
          </a:bodyPr>
          <a:lstStyle>
            <a:lvl1pPr algn="l" defTabSz="101864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i="1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white">
          <a:xfrm>
            <a:off x="2186670" y="1704991"/>
            <a:ext cx="6318826" cy="44319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5093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63835" y="3629407"/>
            <a:ext cx="130265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644"/>
            <a:endParaRPr lang="en-US" sz="10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63835" y="3931857"/>
            <a:ext cx="1458191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36" rtlCol="0" anchor="t" anchorCtr="0">
            <a:spAutoFit/>
          </a:bodyPr>
          <a:lstStyle/>
          <a:p>
            <a:pPr defTabSz="1018644"/>
            <a:endParaRPr lang="en-US" sz="10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63835" y="4225411"/>
            <a:ext cx="130265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644"/>
            <a:endParaRPr lang="en-US" sz="10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5" name="Content Placeholder 34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563835" y="4518966"/>
            <a:ext cx="1302651" cy="1263176"/>
          </a:xfrm>
        </p:spPr>
        <p:txBody>
          <a:bodyPr/>
          <a:lstStyle>
            <a:lvl1pPr>
              <a:defRPr sz="1000" i="1"/>
            </a:lvl1pPr>
          </a:lstStyle>
          <a:p>
            <a:pPr lvl="0"/>
            <a:r>
              <a:rPr lang="en-US" noProof="0" smtClean="0"/>
              <a:t>Click to enter text</a:t>
            </a:r>
            <a:endParaRPr lang="en-US" noProof="0"/>
          </a:p>
        </p:txBody>
      </p:sp>
      <p:cxnSp>
        <p:nvCxnSpPr>
          <p:cNvPr id="25" name="Frame Line"/>
          <p:cNvCxnSpPr/>
          <p:nvPr userDrawn="1"/>
        </p:nvCxnSpPr>
        <p:spPr bwMode="black">
          <a:xfrm flipV="1">
            <a:off x="405054" y="3495972"/>
            <a:ext cx="1458191" cy="140088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Cover image"/>
          <p:cNvSpPr txBox="1">
            <a:spLocks noChangeAspect="1"/>
          </p:cNvSpPr>
          <p:nvPr userDrawn="1">
            <p:custDataLst>
              <p:tags r:id="rId8"/>
            </p:custDataLst>
          </p:nvPr>
        </p:nvSpPr>
        <p:spPr>
          <a:xfrm>
            <a:off x="2024558" y="3492452"/>
            <a:ext cx="7144167" cy="3113461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594" defTabSz="1018644">
              <a:spcAft>
                <a:spcPts val="1003"/>
              </a:spcAft>
            </a:pPr>
            <a:endParaRPr lang="en-US" sz="2200" dirty="0" smtClean="0">
              <a:solidFill>
                <a:srgbClr val="000000"/>
              </a:solidFill>
              <a:latin typeface="Georgia" pitchFamily="18" charset="0"/>
            </a:endParaRP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/>
          <p:nvPr userDrawn="1"/>
        </p:nvGrpSpPr>
        <p:grpSpPr>
          <a:xfrm>
            <a:off x="1201730" y="6219348"/>
            <a:ext cx="1294879" cy="900064"/>
            <a:chOff x="3835013" y="2828854"/>
            <a:chExt cx="1217986" cy="925197"/>
          </a:xfrm>
        </p:grpSpPr>
        <p:grpSp>
          <p:nvGrpSpPr>
            <p:cNvPr id="5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51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7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9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Freeform 49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5" name="Descriptor"/>
          <p:cNvSpPr txBox="1"/>
          <p:nvPr userDrawn="1">
            <p:custDataLst>
              <p:tags r:id="rId1"/>
            </p:custDataLst>
          </p:nvPr>
        </p:nvSpPr>
        <p:spPr bwMode="black">
          <a:xfrm>
            <a:off x="2187287" y="818396"/>
            <a:ext cx="65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defTabSz="1018644"/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" name="Repot Title"/>
          <p:cNvSpPr>
            <a:spLocks noGrp="1"/>
          </p:cNvSpPr>
          <p:nvPr userDrawn="1">
            <p:ph type="ctrTitle" hasCustomPrompt="1"/>
            <p:custDataLst>
              <p:tags r:id="rId2"/>
            </p:custDataLst>
          </p:nvPr>
        </p:nvSpPr>
        <p:spPr bwMode="black">
          <a:xfrm>
            <a:off x="2186670" y="1226781"/>
            <a:ext cx="6318826" cy="479550"/>
          </a:xfrm>
        </p:spPr>
        <p:txBody>
          <a:bodyPr vert="horz" lIns="0" tIns="0" rIns="0" bIns="35994" rtlCol="0" anchor="t" anchorCtr="0">
            <a:spAutoFit/>
          </a:bodyPr>
          <a:lstStyle>
            <a:lvl1pPr algn="l" defTabSz="101864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200" b="1" i="1" kern="1200" baseline="0" noProof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smtClean="0"/>
              <a:t>Report Title</a:t>
            </a:r>
            <a:endParaRPr lang="en-US" noProof="0" dirty="0"/>
          </a:p>
        </p:txBody>
      </p:sp>
      <p:sp>
        <p:nvSpPr>
          <p:cNvPr id="3" name="Report Subtitle"/>
          <p:cNvSpPr>
            <a:spLocks noGrp="1"/>
          </p:cNvSpPr>
          <p:nvPr userDrawn="1">
            <p:ph type="subTitle" idx="1" hasCustomPrompt="1"/>
            <p:custDataLst>
              <p:tags r:id="rId3"/>
            </p:custDataLst>
          </p:nvPr>
        </p:nvSpPr>
        <p:spPr bwMode="black">
          <a:xfrm>
            <a:off x="2186670" y="1704991"/>
            <a:ext cx="6318826" cy="443198"/>
          </a:xfrm>
        </p:spPr>
        <p:txBody>
          <a:bodyPr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tx1"/>
                </a:solidFill>
                <a:latin typeface="+mj-lt"/>
              </a:defRPr>
            </a:lvl1pPr>
            <a:lvl2pPr marL="5093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8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7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7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6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5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52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title</a:t>
            </a:r>
            <a:endParaRPr lang="en-US" noProof="0"/>
          </a:p>
        </p:txBody>
      </p:sp>
      <p:sp>
        <p:nvSpPr>
          <p:cNvPr id="43" name="Confidentiality stamp"/>
          <p:cNvSpPr txBox="1"/>
          <p:nvPr userDrawn="1">
            <p:custDataLst>
              <p:tags r:id="rId4"/>
            </p:custDataLst>
          </p:nvPr>
        </p:nvSpPr>
        <p:spPr bwMode="black">
          <a:xfrm>
            <a:off x="563835" y="3629407"/>
            <a:ext cx="130265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644"/>
            <a:endParaRPr lang="en-US" sz="1000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2" name="Draft stamp"/>
          <p:cNvSpPr txBox="1"/>
          <p:nvPr userDrawn="1">
            <p:custDataLst>
              <p:tags r:id="rId5"/>
            </p:custDataLst>
          </p:nvPr>
        </p:nvSpPr>
        <p:spPr bwMode="black">
          <a:xfrm>
            <a:off x="563835" y="3931857"/>
            <a:ext cx="1458191" cy="2923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37136" rtlCol="0" anchor="t" anchorCtr="0">
            <a:spAutoFit/>
          </a:bodyPr>
          <a:lstStyle/>
          <a:p>
            <a:pPr defTabSz="1018644"/>
            <a:endParaRPr lang="en-US" sz="1000" b="1" i="1" dirty="0">
              <a:solidFill>
                <a:srgbClr val="000000"/>
              </a:solidFill>
              <a:latin typeface="Georgia" pitchFamily="18" charset="0"/>
            </a:endParaRPr>
          </a:p>
        </p:txBody>
      </p:sp>
      <p:sp>
        <p:nvSpPr>
          <p:cNvPr id="31" name="Report Date"/>
          <p:cNvSpPr txBox="1"/>
          <p:nvPr userDrawn="1">
            <p:custDataLst>
              <p:tags r:id="rId6"/>
            </p:custDataLst>
          </p:nvPr>
        </p:nvSpPr>
        <p:spPr bwMode="black">
          <a:xfrm>
            <a:off x="563834" y="4225411"/>
            <a:ext cx="1302651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defTabSz="1018644"/>
            <a:endParaRPr lang="en-US" sz="1000" i="1" dirty="0" smtClean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cxnSp>
        <p:nvCxnSpPr>
          <p:cNvPr id="72" name="Frame Line"/>
          <p:cNvCxnSpPr/>
          <p:nvPr userDrawn="1"/>
        </p:nvCxnSpPr>
        <p:spPr bwMode="black">
          <a:xfrm flipV="1">
            <a:off x="2025266" y="1109758"/>
            <a:ext cx="8096122" cy="140088"/>
          </a:xfrm>
          <a:prstGeom prst="bentConnector3">
            <a:avLst>
              <a:gd name="adj1" fmla="val -30"/>
            </a:avLst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Frame Line"/>
          <p:cNvCxnSpPr/>
          <p:nvPr userDrawn="1"/>
        </p:nvCxnSpPr>
        <p:spPr bwMode="black">
          <a:xfrm flipV="1">
            <a:off x="405054" y="3495972"/>
            <a:ext cx="1458191" cy="140088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tags" Target="../tags/tag1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5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tags" Target="../tags/tag169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04.xml"/><Relationship Id="rId21" Type="http://schemas.openxmlformats.org/officeDocument/2006/relationships/theme" Target="../theme/theme9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0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111.xml"/><Relationship Id="rId19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tags" Target="../tags/tag3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671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DD9589-708D-4F6A-AA56-8D8F48657B66}" type="datetimeFigureOut">
              <a:rPr lang="en-US" smtClean="0"/>
              <a:pPr/>
              <a:t>06-Feb-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3581" y="7008172"/>
            <a:ext cx="3386243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3603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7C228E-19D1-4C4E-B9B6-BA2EB2D435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912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1042872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6" indent="-391076" algn="l" defTabSz="1042872" rtl="0" eaLnBrk="1" latinLnBrk="0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1042872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0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6" indent="-260718" algn="l" defTabSz="1042872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2" indent="-260718" algn="l" defTabSz="1042872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898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3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0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06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08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4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79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1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87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671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3581" y="7008172"/>
            <a:ext cx="3386243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3603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912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</p:sldLayoutIdLst>
  <p:txStyles>
    <p:titleStyle>
      <a:lvl1pPr algn="ctr" defTabSz="1042872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6" indent="-391076" algn="l" defTabSz="1042872" rtl="0" eaLnBrk="1" latinLnBrk="0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1042872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0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6" indent="-260718" algn="l" defTabSz="1042872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2" indent="-260718" algn="l" defTabSz="1042872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898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3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0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06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08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4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79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1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87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671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3581" y="7008172"/>
            <a:ext cx="3386243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3603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912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</p:sldLayoutIdLst>
  <p:txStyles>
    <p:titleStyle>
      <a:lvl1pPr algn="ctr" defTabSz="1042872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6" indent="-391076" algn="l" defTabSz="1042872" rtl="0" eaLnBrk="1" latinLnBrk="0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1042872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0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6" indent="-260718" algn="l" defTabSz="1042872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2" indent="-260718" algn="l" defTabSz="1042872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898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3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0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06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08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4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79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1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87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671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3581" y="7008172"/>
            <a:ext cx="3386243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3603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912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1042872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6" indent="-391076" algn="l" defTabSz="1042872" rtl="0" eaLnBrk="1" latinLnBrk="0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1042872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0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6" indent="-260718" algn="l" defTabSz="1042872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2" indent="-260718" algn="l" defTabSz="1042872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898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3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0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06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08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4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79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1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87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671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3581" y="7008172"/>
            <a:ext cx="3386243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3603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912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defTabSz="1042872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6" indent="-391076" algn="l" defTabSz="1042872" rtl="0" eaLnBrk="1" latinLnBrk="0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1042872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0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6" indent="-260718" algn="l" defTabSz="1042872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2" indent="-260718" algn="l" defTabSz="1042872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898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3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0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06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08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4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79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1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87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671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3581" y="7008172"/>
            <a:ext cx="3386243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3603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912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ctr" defTabSz="1042872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6" indent="-391076" algn="l" defTabSz="1042872" rtl="0" eaLnBrk="1" latinLnBrk="0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1042872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0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6" indent="-260718" algn="l" defTabSz="1042872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2" indent="-260718" algn="l" defTabSz="1042872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898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3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0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06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08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4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79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1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87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104287" tIns="52144" rIns="104287" bIns="5214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671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DD9589-708D-4F6A-AA56-8D8F48657B6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06-Feb-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53581" y="7008172"/>
            <a:ext cx="3386243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63603" y="7008172"/>
            <a:ext cx="2495127" cy="402567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7C228E-19D1-4C4E-B9B6-BA2EB2D435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912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ctr" defTabSz="1042872" rtl="0" eaLnBrk="1" latinLnBrk="0" hangingPunct="1"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1076" indent="-391076" algn="l" defTabSz="1042872" rtl="0" eaLnBrk="1" latinLnBrk="0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+mn-lt"/>
          <a:ea typeface="+mn-ea"/>
          <a:cs typeface="+mn-cs"/>
        </a:defRPr>
      </a:lvl1pPr>
      <a:lvl2pPr marL="847334" indent="-325898" algn="l" defTabSz="1042872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590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5026" indent="-260718" algn="l" defTabSz="1042872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462" indent="-260718" algn="l" defTabSz="1042872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898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3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0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06" indent="-260718" algn="l" defTabSz="1042872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08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4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79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16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2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87" algn="l" defTabSz="104287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3544" y="178612"/>
            <a:ext cx="9707611" cy="916878"/>
          </a:xfrm>
          <a:prstGeom prst="rect">
            <a:avLst/>
          </a:prstGeom>
        </p:spPr>
        <p:txBody>
          <a:bodyPr vert="horz" lIns="0" tIns="49777" rIns="0" bIns="49777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3544" y="1663081"/>
            <a:ext cx="9707611" cy="50606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FooterSimple"/>
          <p:cNvSpPr/>
          <p:nvPr/>
        </p:nvSpPr>
        <p:spPr>
          <a:xfrm>
            <a:off x="493541" y="7386620"/>
            <a:ext cx="695622" cy="1187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defTabSz="995514"/>
            <a:r>
              <a:rPr lang="en-US" sz="800" dirty="0" smtClean="0">
                <a:solidFill>
                  <a:srgbClr val="808080"/>
                </a:solidFill>
              </a:rPr>
              <a:t>279167-11-Presentation to Supreme Council_v2.pptx</a:t>
            </a:r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106185"/>
            <a:ext cx="106934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 lIns="99551" tIns="49777" rIns="99551" bIns="49777"/>
          <a:lstStyle/>
          <a:p>
            <a:pPr defTabSz="995514"/>
            <a:endParaRPr lang="en-US" sz="2100" dirty="0">
              <a:solidFill>
                <a:srgbClr val="000000"/>
              </a:solidFill>
            </a:endParaRPr>
          </a:p>
        </p:txBody>
      </p:sp>
      <p:pic>
        <p:nvPicPr>
          <p:cNvPr id="9" name="Picture 119" descr="BCG_Logotype_Regular_RGB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229378" y="7359981"/>
            <a:ext cx="2234646" cy="138273"/>
          </a:xfrm>
          <a:prstGeom prst="rect">
            <a:avLst/>
          </a:prstGeom>
          <a:noFill/>
        </p:spPr>
      </p:pic>
      <p:sp>
        <p:nvSpPr>
          <p:cNvPr id="10" name="TextBox 9"/>
          <p:cNvSpPr txBox="1"/>
          <p:nvPr/>
        </p:nvSpPr>
        <p:spPr>
          <a:xfrm>
            <a:off x="9995190" y="7358838"/>
            <a:ext cx="205641" cy="140023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 defTabSz="995514">
              <a:defRPr/>
            </a:pPr>
            <a:fld id="{9D53E389-1311-4796-9190-1F74A8EADEA2}" type="slidenum">
              <a:rPr lang="en-US" sz="1000" smtClean="0">
                <a:solidFill>
                  <a:srgbClr val="000000"/>
                </a:solidFill>
              </a:rPr>
              <a:pPr algn="r" defTabSz="995514">
                <a:defRPr/>
              </a:pPr>
              <a:t>‹#›</a:t>
            </a:fld>
            <a:endParaRPr lang="en-US" sz="1000" dirty="0" smtClean="0">
              <a:solidFill>
                <a:srgbClr val="000000"/>
              </a:solidFill>
            </a:endParaRPr>
          </a:p>
          <a:p>
            <a:pPr defTabSz="995514"/>
            <a:endParaRPr lang="en-US" sz="1000" dirty="0" smtClean="0">
              <a:solidFill>
                <a:srgbClr val="000000"/>
              </a:solidFill>
            </a:endParaRPr>
          </a:p>
        </p:txBody>
      </p:sp>
      <p:sp>
        <p:nvSpPr>
          <p:cNvPr id="11" name="Rectangle 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267025" y="80515"/>
            <a:ext cx="2157642" cy="20005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995514" eaLnBrk="0" hangingPunct="0"/>
            <a:r>
              <a:rPr lang="en-US" sz="1300" b="1" dirty="0" smtClean="0">
                <a:solidFill>
                  <a:srgbClr val="C41300"/>
                </a:solidFill>
              </a:rPr>
              <a:t>Draft – For discussion only</a:t>
            </a:r>
            <a:endParaRPr lang="en-US" sz="1300" b="1" dirty="0">
              <a:solidFill>
                <a:srgbClr val="C413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</p:sldLayoutIdLst>
  <p:hf hdr="0" ftr="0" dt="0"/>
  <p:txStyles>
    <p:titleStyle>
      <a:lvl1pPr algn="l" defTabSz="995514" rtl="0" eaLnBrk="1" latinLnBrk="0" hangingPunct="1"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95514" rtl="0" eaLnBrk="1" latinLnBrk="0" hangingPunct="1">
        <a:spcBef>
          <a:spcPct val="20000"/>
        </a:spcBef>
        <a:buFontTx/>
        <a:buNone/>
        <a:defRPr sz="17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97757" indent="-248879" algn="l" defTabSz="995514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995514" indent="-248879" algn="l" defTabSz="995514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498458" indent="-254064" algn="l" defTabSz="995514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241636" indent="-250607" algn="l" defTabSz="995514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737665" indent="-248879" algn="l" defTabSz="99551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35422" indent="-248879" algn="l" defTabSz="99551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33179" indent="-248879" algn="l" defTabSz="99551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30936" indent="-248879" algn="l" defTabSz="99551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55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497757" algn="l" defTabSz="9955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995514" algn="l" defTabSz="9955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493271" algn="l" defTabSz="9955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1991029" algn="l" defTabSz="9955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488786" algn="l" defTabSz="9955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2986543" algn="l" defTabSz="9955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484301" algn="l" defTabSz="9955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3982058" algn="l" defTabSz="99551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id" hidden="1"/>
          <p:cNvGrpSpPr/>
          <p:nvPr>
            <p:custDataLst>
              <p:tags r:id="rId23"/>
            </p:custDataLst>
          </p:nvPr>
        </p:nvGrpSpPr>
        <p:grpSpPr>
          <a:xfrm>
            <a:off x="563835" y="667171"/>
            <a:ext cx="9565732" cy="6529373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652">
                <a:defRPr/>
              </a:pP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652">
                <a:defRPr/>
              </a:pP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547">
                <a:buSzPct val="90000"/>
                <a:defRPr/>
              </a:pPr>
              <a:endParaRPr lang="en-US" sz="1400" dirty="0">
                <a:solidFill>
                  <a:srgbClr val="E0301E"/>
                </a:solidFill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3835" y="1111952"/>
            <a:ext cx="9565732" cy="8895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3835" y="2152737"/>
            <a:ext cx="9565732" cy="42965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40854" y="6894095"/>
            <a:ext cx="1778993" cy="151225"/>
          </a:xfrm>
          <a:prstGeom prst="rect">
            <a:avLst/>
          </a:prstGeom>
        </p:spPr>
        <p:txBody>
          <a:bodyPr vert="horz" lIns="101865" tIns="50932" rIns="101865" bIns="50932" rtlCol="0" anchor="ctr"/>
          <a:lstStyle>
            <a:lvl1pPr algn="r" defTabSz="1018644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3835" y="6894095"/>
            <a:ext cx="6143844" cy="151225"/>
          </a:xfrm>
          <a:prstGeom prst="rect">
            <a:avLst/>
          </a:prstGeom>
        </p:spPr>
        <p:txBody>
          <a:bodyPr vert="horz" lIns="101865" tIns="50932" rIns="101865" bIns="50932" rtlCol="0" anchor="ctr"/>
          <a:lstStyle>
            <a:lvl1pPr algn="l" defTabSz="1018644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</p:sldLayoutIdLst>
  <p:hf sldNum="0" hdr="0" ftr="0" dt="0"/>
  <p:txStyles>
    <p:titleStyle>
      <a:lvl1pPr algn="l" defTabSz="1018644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1899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Wingdings" pitchFamily="2" charset="2"/>
        <a:buNone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34909" marR="0" indent="-228560" algn="l" defTabSz="101899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Times New Roman" pitchFamily="18" charset="0"/>
        <a:buChar char="•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67917" marR="0" indent="-230360" algn="l" defTabSz="101899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Arial" pitchFamily="34" charset="0"/>
        <a:buChar char="-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94677" marR="0" indent="-230360" algn="l" defTabSz="101899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Georgia" pitchFamily="18" charset="0"/>
        <a:buChar char="◦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914239" marR="0" indent="-228560" algn="l" defTabSz="101899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Georgia" pitchFamily="18" charset="0"/>
        <a:buChar char="›"/>
        <a:tabLst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33959" indent="-230360" algn="l" defTabSz="1018644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67917" indent="-228560" algn="l" defTabSz="1018644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94677" indent="-228560" algn="l" defTabSz="1018644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10186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itchFamily="34" charset="0"/>
        <a:buNone/>
        <a:defRPr lang="en-GB" sz="11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09323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644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27968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289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46612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055934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257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4579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id" hidden="1"/>
          <p:cNvGrpSpPr/>
          <p:nvPr>
            <p:custDataLst>
              <p:tags r:id="rId23"/>
            </p:custDataLst>
          </p:nvPr>
        </p:nvGrpSpPr>
        <p:grpSpPr>
          <a:xfrm>
            <a:off x="563835" y="667171"/>
            <a:ext cx="9565732" cy="6529373"/>
            <a:chOff x="530352" y="685800"/>
            <a:chExt cx="8997696" cy="6711696"/>
          </a:xfrm>
        </p:grpSpPr>
        <p:sp>
          <p:nvSpPr>
            <p:cNvPr id="5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652">
                <a:defRPr/>
              </a:pP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652">
                <a:defRPr/>
              </a:pP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547">
                <a:buSzPct val="90000"/>
                <a:defRPr/>
              </a:pPr>
              <a:endParaRPr lang="en-US" sz="1400" dirty="0">
                <a:solidFill>
                  <a:srgbClr val="E0301E"/>
                </a:solidFill>
                <a:cs typeface="Arial" charset="0"/>
              </a:endParaRPr>
            </a:p>
          </p:txBody>
        </p:sp>
        <p:grpSp>
          <p:nvGrpSpPr>
            <p:cNvPr id="7" name="Group 600" hidden="1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" name="Group 500" hidden="1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" name="Group 400" hidden="1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" name="Group 300" hidden="1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" name="Group 200" hidden="1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Group 100" hidden="1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652">
                  <a:defRPr/>
                </a:pP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3835" y="1111952"/>
            <a:ext cx="9565732" cy="8895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3835" y="2152736"/>
            <a:ext cx="9565732" cy="42965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40854" y="6894094"/>
            <a:ext cx="1778993" cy="151225"/>
          </a:xfrm>
          <a:prstGeom prst="rect">
            <a:avLst/>
          </a:prstGeom>
        </p:spPr>
        <p:txBody>
          <a:bodyPr vert="horz" lIns="101865" tIns="50932" rIns="101865" bIns="50932" rtlCol="0" anchor="ctr"/>
          <a:lstStyle>
            <a:lvl1pPr algn="r" defTabSz="1018644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3835" y="6894094"/>
            <a:ext cx="6143844" cy="151225"/>
          </a:xfrm>
          <a:prstGeom prst="rect">
            <a:avLst/>
          </a:prstGeom>
        </p:spPr>
        <p:txBody>
          <a:bodyPr vert="horz" lIns="101865" tIns="50932" rIns="101865" bIns="50932" rtlCol="0" anchor="ctr"/>
          <a:lstStyle>
            <a:lvl1pPr algn="l" defTabSz="1018644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</p:sldLayoutIdLst>
  <p:hf sldNum="0" hdr="0" ftr="0" dt="0"/>
  <p:txStyles>
    <p:titleStyle>
      <a:lvl1pPr algn="l" defTabSz="1018644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1899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Wingdings" pitchFamily="2" charset="2"/>
        <a:buNone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34909" marR="0" indent="-228560" algn="l" defTabSz="101899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Times New Roman" pitchFamily="18" charset="0"/>
        <a:buChar char="•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67917" marR="0" indent="-230360" algn="l" defTabSz="101899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Arial" pitchFamily="34" charset="0"/>
        <a:buChar char="-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94677" marR="0" indent="-230360" algn="l" defTabSz="101899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Georgia" pitchFamily="18" charset="0"/>
        <a:buChar char="◦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914239" marR="0" indent="-228560" algn="l" defTabSz="1018995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Georgia" pitchFamily="18" charset="0"/>
        <a:buChar char="›"/>
        <a:tabLst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33959" indent="-230360" algn="l" defTabSz="1018644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rabi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67917" indent="-228560" algn="l" defTabSz="1018644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alphaL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94677" indent="-228560" algn="l" defTabSz="1018644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+mj-lt"/>
        <a:buAutoNum type="romanL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10186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itchFamily="34" charset="0"/>
        <a:buNone/>
        <a:defRPr lang="en-GB" sz="11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09323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644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27968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289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46612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055934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257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4579" algn="l" defTabSz="10186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id" hidden="1"/>
          <p:cNvGrpSpPr/>
          <p:nvPr>
            <p:custDataLst>
              <p:tags r:id="rId22"/>
            </p:custDataLst>
          </p:nvPr>
        </p:nvGrpSpPr>
        <p:grpSpPr>
          <a:xfrm>
            <a:off x="563835" y="667172"/>
            <a:ext cx="9565732" cy="6529373"/>
            <a:chOff x="530352" y="685800"/>
            <a:chExt cx="8997696" cy="6711696"/>
          </a:xfrm>
        </p:grpSpPr>
        <p:sp>
          <p:nvSpPr>
            <p:cNvPr id="55" name="Footer block"/>
            <p:cNvSpPr>
              <a:spLocks noChangeArrowheads="1"/>
            </p:cNvSpPr>
            <p:nvPr/>
          </p:nvSpPr>
          <p:spPr bwMode="gray">
            <a:xfrm>
              <a:off x="530352" y="6784848"/>
              <a:ext cx="8988552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552">
                <a:defRPr/>
              </a:pPr>
              <a:endParaRPr lang="en-GB" sz="1100" dirty="0">
                <a:solidFill>
                  <a:srgbClr val="000000"/>
                </a:solidFill>
              </a:endParaRPr>
            </a:p>
          </p:txBody>
        </p:sp>
        <p:sp>
          <p:nvSpPr>
            <p:cNvPr id="56" name="Title block"/>
            <p:cNvSpPr>
              <a:spLocks noChangeArrowheads="1"/>
            </p:cNvSpPr>
            <p:nvPr/>
          </p:nvSpPr>
          <p:spPr bwMode="gray">
            <a:xfrm>
              <a:off x="530352" y="1143000"/>
              <a:ext cx="8988552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552">
                <a:defRPr/>
              </a:pPr>
              <a:endParaRPr lang="en-GB" sz="1100" dirty="0">
                <a:solidFill>
                  <a:srgbClr val="000000"/>
                </a:solidFill>
              </a:endParaRPr>
            </a:p>
          </p:txBody>
        </p:sp>
        <p:sp>
          <p:nvSpPr>
            <p:cNvPr id="57" name="Header block"/>
            <p:cNvSpPr>
              <a:spLocks noChangeArrowheads="1"/>
            </p:cNvSpPr>
            <p:nvPr/>
          </p:nvSpPr>
          <p:spPr bwMode="gray">
            <a:xfrm>
              <a:off x="530352" y="685800"/>
              <a:ext cx="8988552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458">
                <a:buSzPct val="90000"/>
                <a:defRPr/>
              </a:pPr>
              <a:endParaRPr lang="en-GB" sz="1400" dirty="0">
                <a:solidFill>
                  <a:srgbClr val="A32020"/>
                </a:solidFill>
                <a:cs typeface="Arial" charset="0"/>
              </a:endParaRPr>
            </a:p>
          </p:txBody>
        </p:sp>
        <p:grpSp>
          <p:nvGrpSpPr>
            <p:cNvPr id="8" name="Group 600"/>
            <p:cNvGrpSpPr/>
            <p:nvPr userDrawn="1"/>
          </p:nvGrpSpPr>
          <p:grpSpPr>
            <a:xfrm>
              <a:off x="530352" y="6016752"/>
              <a:ext cx="8997696" cy="609600"/>
              <a:chOff x="530352" y="6016752"/>
              <a:chExt cx="8997696" cy="609600"/>
            </a:xfrm>
          </p:grpSpPr>
          <p:sp>
            <p:nvSpPr>
              <p:cNvPr id="94" name="Content block 606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Content block 605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Content block 604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Content block 603"/>
              <p:cNvSpPr>
                <a:spLocks noChangeArrowheads="1"/>
              </p:cNvSpPr>
              <p:nvPr/>
            </p:nvSpPr>
            <p:spPr bwMode="gray">
              <a:xfrm>
                <a:off x="358474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Content block 602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Content block 60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" name="Group 500"/>
            <p:cNvGrpSpPr/>
            <p:nvPr userDrawn="1"/>
          </p:nvGrpSpPr>
          <p:grpSpPr>
            <a:xfrm>
              <a:off x="530352" y="5257800"/>
              <a:ext cx="8997696" cy="609600"/>
              <a:chOff x="530352" y="5257800"/>
              <a:chExt cx="8997696" cy="609600"/>
            </a:xfrm>
          </p:grpSpPr>
          <p:sp>
            <p:nvSpPr>
              <p:cNvPr id="88" name="Content block 506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9" name="Content block 505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0" name="Content block 504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1" name="Content block 503"/>
              <p:cNvSpPr>
                <a:spLocks noChangeArrowheads="1"/>
              </p:cNvSpPr>
              <p:nvPr/>
            </p:nvSpPr>
            <p:spPr bwMode="gray">
              <a:xfrm>
                <a:off x="358474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Content block 502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3" name="Content block 50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" name="Group 400"/>
            <p:cNvGrpSpPr/>
            <p:nvPr userDrawn="1"/>
          </p:nvGrpSpPr>
          <p:grpSpPr>
            <a:xfrm>
              <a:off x="530352" y="4498848"/>
              <a:ext cx="8997696" cy="609600"/>
              <a:chOff x="530352" y="4498848"/>
              <a:chExt cx="8997696" cy="609600"/>
            </a:xfrm>
          </p:grpSpPr>
          <p:sp>
            <p:nvSpPr>
              <p:cNvPr id="82" name="Content block 406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3" name="Content block 405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Content block 404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5" name="Content block 403"/>
              <p:cNvSpPr>
                <a:spLocks noChangeArrowheads="1"/>
              </p:cNvSpPr>
              <p:nvPr/>
            </p:nvSpPr>
            <p:spPr bwMode="gray">
              <a:xfrm>
                <a:off x="358474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6" name="Content block 402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7" name="Content block 40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" name="Group 300"/>
            <p:cNvGrpSpPr/>
            <p:nvPr userDrawn="1"/>
          </p:nvGrpSpPr>
          <p:grpSpPr>
            <a:xfrm>
              <a:off x="530352" y="3730752"/>
              <a:ext cx="8997696" cy="609600"/>
              <a:chOff x="530352" y="3730752"/>
              <a:chExt cx="8997696" cy="609600"/>
            </a:xfrm>
          </p:grpSpPr>
          <p:sp>
            <p:nvSpPr>
              <p:cNvPr id="76" name="Content block 306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Content block 305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Content block 304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Content block 303"/>
              <p:cNvSpPr>
                <a:spLocks noChangeArrowheads="1"/>
              </p:cNvSpPr>
              <p:nvPr/>
            </p:nvSpPr>
            <p:spPr bwMode="gray">
              <a:xfrm>
                <a:off x="358474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Content block 302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1" name="Content block 30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2" name="Group 200"/>
            <p:cNvGrpSpPr/>
            <p:nvPr userDrawn="1"/>
          </p:nvGrpSpPr>
          <p:grpSpPr>
            <a:xfrm>
              <a:off x="530352" y="2971800"/>
              <a:ext cx="8997696" cy="609600"/>
              <a:chOff x="530352" y="2971800"/>
              <a:chExt cx="8997696" cy="609600"/>
            </a:xfrm>
          </p:grpSpPr>
          <p:sp>
            <p:nvSpPr>
              <p:cNvPr id="70" name="Content block 206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Content block 205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2" name="Content block 204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Content block 203"/>
              <p:cNvSpPr>
                <a:spLocks noChangeArrowheads="1"/>
              </p:cNvSpPr>
              <p:nvPr/>
            </p:nvSpPr>
            <p:spPr bwMode="gray">
              <a:xfrm>
                <a:off x="358474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4" name="Content block 202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Content block 20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Group 100"/>
            <p:cNvGrpSpPr/>
            <p:nvPr userDrawn="1"/>
          </p:nvGrpSpPr>
          <p:grpSpPr>
            <a:xfrm>
              <a:off x="530352" y="2212848"/>
              <a:ext cx="8997696" cy="609600"/>
              <a:chOff x="530352" y="2212848"/>
              <a:chExt cx="8997696" cy="609600"/>
            </a:xfrm>
          </p:grpSpPr>
          <p:sp>
            <p:nvSpPr>
              <p:cNvPr id="64" name="Content block 106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Content block 105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6" name="Content block 104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Content block 103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8" name="Content block 102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Content block 10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552">
                  <a:defRPr/>
                </a:pPr>
                <a:endParaRPr lang="en-GB" sz="11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3835" y="1111951"/>
            <a:ext cx="9565732" cy="8895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3835" y="2152736"/>
            <a:ext cx="9565732" cy="42965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40854" y="6894094"/>
            <a:ext cx="1778993" cy="151225"/>
          </a:xfrm>
          <a:prstGeom prst="rect">
            <a:avLst/>
          </a:prstGeom>
        </p:spPr>
        <p:txBody>
          <a:bodyPr vert="horz" lIns="101853" tIns="50927" rIns="101853" bIns="50927" rtlCol="0" anchor="ctr"/>
          <a:lstStyle>
            <a:lvl1pPr algn="r" defTabSz="1018532">
              <a:defRPr sz="1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3835" y="6894094"/>
            <a:ext cx="6143844" cy="151225"/>
          </a:xfrm>
          <a:prstGeom prst="rect">
            <a:avLst/>
          </a:prstGeom>
        </p:spPr>
        <p:txBody>
          <a:bodyPr vert="horz" lIns="101853" tIns="50927" rIns="101853" bIns="50927" rtlCol="0" anchor="ctr"/>
          <a:lstStyle>
            <a:lvl1pPr algn="l" defTabSz="1018532">
              <a:defRPr sz="1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40854" y="7045319"/>
            <a:ext cx="1778993" cy="151225"/>
          </a:xfrm>
          <a:prstGeom prst="rect">
            <a:avLst/>
          </a:prstGeom>
        </p:spPr>
        <p:txBody>
          <a:bodyPr vert="horz" lIns="101853" tIns="50927" rIns="101853" bIns="50927" rtlCol="0" anchor="ctr"/>
          <a:lstStyle>
            <a:lvl1pPr algn="r" defTabSz="1018532">
              <a:defRPr sz="1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D5A39AF-FEF5-47AB-AA80-4C0BD4A8B092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3798" r:id="rId17"/>
    <p:sldLayoutId id="2147483799" r:id="rId18"/>
    <p:sldLayoutId id="2147483800" r:id="rId19"/>
    <p:sldLayoutId id="2147483801" r:id="rId20"/>
  </p:sldLayoutIdLst>
  <p:hf hdr="0" ftr="0" dt="0"/>
  <p:txStyles>
    <p:titleStyle>
      <a:lvl1pPr algn="l" defTabSz="1018532" rtl="0" eaLnBrk="1" latinLnBrk="0" hangingPunct="1">
        <a:spcBef>
          <a:spcPct val="0"/>
        </a:spcBef>
        <a:buNone/>
        <a:defRPr sz="18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18884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Wingdings" pitchFamily="2" charset="2"/>
        <a:buNone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34883" marR="0" indent="-228535" algn="l" defTabSz="1018884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Times New Roman" pitchFamily="18" charset="0"/>
        <a:buChar char="•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475353" marR="0" indent="-226948" algn="l" defTabSz="1018884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Arial" pitchFamily="34" charset="0"/>
        <a:buChar char="-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685604" marR="0" indent="-237676" algn="l" defTabSz="1018884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Georgia" pitchFamily="18" charset="0"/>
        <a:buChar char="◦"/>
        <a:tabLst/>
        <a:defRPr sz="11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914138" marR="0" indent="-228535" algn="l" defTabSz="1018884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SzTx/>
        <a:buFont typeface="Georgia" pitchFamily="18" charset="0"/>
        <a:buChar char="›"/>
        <a:tabLst/>
        <a:defRPr sz="11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37676" indent="-237676" algn="l" defTabSz="101853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rabi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475353" indent="-228535" algn="l" defTabSz="101853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lphaL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682429" indent="-228535" algn="l" defTabSz="101853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romanLcPeriod"/>
        <a:defRPr lang="en-GB" sz="1100" kern="1200" baseline="0" noProof="0" dirty="0" smtClean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0" algn="l" defTabSz="1018532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itchFamily="34" charset="0"/>
        <a:buNone/>
        <a:defRPr lang="en-GB" sz="1100" b="1" kern="1200" baseline="0" noProof="0" dirty="0" smtClean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53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09267" algn="l" defTabSz="101853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532" algn="l" defTabSz="101853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27800" algn="l" defTabSz="101853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067" algn="l" defTabSz="101853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46332" algn="l" defTabSz="101853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055599" algn="l" defTabSz="101853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64865" algn="l" defTabSz="101853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4133" algn="l" defTabSz="101853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489.xml"/><Relationship Id="rId13" Type="http://schemas.openxmlformats.org/officeDocument/2006/relationships/tags" Target="../tags/tag494.xml"/><Relationship Id="rId18" Type="http://schemas.openxmlformats.org/officeDocument/2006/relationships/tags" Target="../tags/tag499.xml"/><Relationship Id="rId3" Type="http://schemas.openxmlformats.org/officeDocument/2006/relationships/tags" Target="../tags/tag484.xml"/><Relationship Id="rId21" Type="http://schemas.openxmlformats.org/officeDocument/2006/relationships/image" Target="../media/image6.jpeg"/><Relationship Id="rId7" Type="http://schemas.openxmlformats.org/officeDocument/2006/relationships/tags" Target="../tags/tag488.xml"/><Relationship Id="rId12" Type="http://schemas.openxmlformats.org/officeDocument/2006/relationships/tags" Target="../tags/tag493.xml"/><Relationship Id="rId17" Type="http://schemas.openxmlformats.org/officeDocument/2006/relationships/tags" Target="../tags/tag498.xml"/><Relationship Id="rId2" Type="http://schemas.openxmlformats.org/officeDocument/2006/relationships/tags" Target="../tags/tag483.xml"/><Relationship Id="rId16" Type="http://schemas.openxmlformats.org/officeDocument/2006/relationships/tags" Target="../tags/tag497.xml"/><Relationship Id="rId20" Type="http://schemas.openxmlformats.org/officeDocument/2006/relationships/notesSlide" Target="../notesSlides/notesSlide1.xml"/><Relationship Id="rId1" Type="http://schemas.openxmlformats.org/officeDocument/2006/relationships/tags" Target="../tags/tag482.xml"/><Relationship Id="rId6" Type="http://schemas.openxmlformats.org/officeDocument/2006/relationships/tags" Target="../tags/tag487.xml"/><Relationship Id="rId11" Type="http://schemas.openxmlformats.org/officeDocument/2006/relationships/tags" Target="../tags/tag492.xml"/><Relationship Id="rId5" Type="http://schemas.openxmlformats.org/officeDocument/2006/relationships/tags" Target="../tags/tag486.xml"/><Relationship Id="rId15" Type="http://schemas.openxmlformats.org/officeDocument/2006/relationships/tags" Target="../tags/tag496.xml"/><Relationship Id="rId10" Type="http://schemas.openxmlformats.org/officeDocument/2006/relationships/tags" Target="../tags/tag491.xml"/><Relationship Id="rId19" Type="http://schemas.openxmlformats.org/officeDocument/2006/relationships/slideLayout" Target="../slideLayouts/slideLayout35.xml"/><Relationship Id="rId4" Type="http://schemas.openxmlformats.org/officeDocument/2006/relationships/tags" Target="../tags/tag485.xml"/><Relationship Id="rId9" Type="http://schemas.openxmlformats.org/officeDocument/2006/relationships/tags" Target="../tags/tag490.xml"/><Relationship Id="rId14" Type="http://schemas.openxmlformats.org/officeDocument/2006/relationships/tags" Target="../tags/tag49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3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70636" y="2735926"/>
            <a:ext cx="5904656" cy="1620771"/>
          </a:xfrm>
        </p:spPr>
        <p:txBody>
          <a:bodyPr>
            <a:normAutofit fontScale="90000"/>
          </a:bodyPr>
          <a:lstStyle/>
          <a:p>
            <a:pPr algn="r" rtl="1"/>
            <a:r>
              <a:rPr lang="ar-AE" sz="5300" dirty="0">
                <a:solidFill>
                  <a:schemeClr val="bg1"/>
                </a:solidFill>
              </a:rPr>
              <a:t>مستقبل التعلّم الإلكتروني</a:t>
            </a:r>
            <a:r>
              <a:rPr lang="en-US" dirty="0" smtClean="0">
                <a:solidFill>
                  <a:schemeClr val="bg1"/>
                </a:solidFill>
              </a:rPr>
              <a:t/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/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ar-SA" dirty="0" smtClean="0">
                <a:solidFill>
                  <a:schemeClr val="bg1"/>
                </a:solidFill>
              </a:rPr>
              <a:t>إبراهيم آل معيقل</a:t>
            </a:r>
            <a:br>
              <a:rPr lang="ar-SA" dirty="0" smtClean="0">
                <a:solidFill>
                  <a:schemeClr val="bg1"/>
                </a:solidFill>
              </a:rPr>
            </a:br>
            <a:r>
              <a:rPr lang="ar-SA" sz="3600" dirty="0" smtClean="0">
                <a:solidFill>
                  <a:schemeClr val="bg1"/>
                </a:solidFill>
              </a:rPr>
              <a:t>مدير عام صندوق تنمية الموارد البشرية</a:t>
            </a:r>
            <a:endParaRPr lang="en-US" sz="3600" dirty="0">
              <a:solidFill>
                <a:schemeClr val="bg1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6210795" y="6911555"/>
            <a:ext cx="4176465" cy="469479"/>
          </a:xfrm>
          <a:prstGeom prst="rect">
            <a:avLst/>
          </a:prstGeom>
        </p:spPr>
        <p:txBody>
          <a:bodyPr vert="horz" lIns="104269" tIns="52135" rIns="104269" bIns="52135" rtlCol="0" anchor="ctr">
            <a:normAutofit fontScale="97500"/>
          </a:bodyPr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ar-SA" sz="2100" dirty="0" smtClean="0">
                <a:solidFill>
                  <a:srgbClr val="FFC000"/>
                </a:solidFill>
              </a:rPr>
              <a:t>25 ربيع الثاني 1434</a:t>
            </a:r>
            <a:endParaRPr lang="en-US" sz="21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354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690517" y="108225"/>
            <a:ext cx="6840760" cy="1080119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 fontScale="82500" lnSpcReduction="10000"/>
          </a:bodyPr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1"/>
            <a:r>
              <a:rPr lang="ar-AE" dirty="0" smtClean="0">
                <a:solidFill>
                  <a:prstClr val="white"/>
                </a:solidFill>
              </a:rPr>
              <a:t>استراتيجية التعلّم الإلكتروني للصندوق</a:t>
            </a:r>
            <a:endParaRPr lang="en-GB" dirty="0" smtClean="0">
              <a:solidFill>
                <a:prstClr val="white"/>
              </a:solidFill>
            </a:endParaRPr>
          </a:p>
        </p:txBody>
      </p:sp>
      <p:grpSp>
        <p:nvGrpSpPr>
          <p:cNvPr id="25" name="Group 24"/>
          <p:cNvGrpSpPr/>
          <p:nvPr/>
        </p:nvGrpSpPr>
        <p:grpSpPr>
          <a:xfrm flipH="1">
            <a:off x="162126" y="1476376"/>
            <a:ext cx="10531275" cy="5181853"/>
            <a:chOff x="162125" y="1476375"/>
            <a:chExt cx="10531275" cy="5181853"/>
          </a:xfrm>
        </p:grpSpPr>
        <p:sp>
          <p:nvSpPr>
            <p:cNvPr id="20" name="Line 6"/>
            <p:cNvSpPr>
              <a:spLocks noChangeShapeType="1"/>
            </p:cNvSpPr>
            <p:nvPr/>
          </p:nvSpPr>
          <p:spPr bwMode="auto">
            <a:xfrm flipV="1">
              <a:off x="6555948" y="4428702"/>
              <a:ext cx="2520280" cy="1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defTabSz="1018532"/>
              <a:endParaRPr lang="en-GB" sz="1100" dirty="0">
                <a:solidFill>
                  <a:srgbClr val="000000"/>
                </a:solidFill>
                <a:latin typeface="Georgia"/>
              </a:endParaRPr>
            </a:p>
          </p:txBody>
        </p:sp>
        <p:sp>
          <p:nvSpPr>
            <p:cNvPr id="7" name="Line 6"/>
            <p:cNvSpPr>
              <a:spLocks noChangeShapeType="1"/>
            </p:cNvSpPr>
            <p:nvPr/>
          </p:nvSpPr>
          <p:spPr bwMode="auto">
            <a:xfrm flipV="1">
              <a:off x="6626758" y="3420590"/>
              <a:ext cx="2449470" cy="2176675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defTabSz="1018532"/>
              <a:endParaRPr lang="en-GB" sz="1100" dirty="0">
                <a:solidFill>
                  <a:srgbClr val="000000"/>
                </a:solidFill>
                <a:latin typeface="Georgia"/>
              </a:endParaRPr>
            </a:p>
          </p:txBody>
        </p:sp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6778653" y="3530891"/>
              <a:ext cx="2372936" cy="2066375"/>
            </a:xfrm>
            <a:prstGeom prst="line">
              <a:avLst/>
            </a:prstGeom>
            <a:noFill/>
            <a:ln w="9525">
              <a:solidFill>
                <a:srgbClr val="969696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defTabSz="1018532"/>
              <a:endParaRPr lang="en-GB" sz="1100" dirty="0">
                <a:solidFill>
                  <a:srgbClr val="000000"/>
                </a:solidFill>
                <a:latin typeface="Georgia"/>
              </a:endParaRPr>
            </a:p>
          </p:txBody>
        </p:sp>
        <p:sp>
          <p:nvSpPr>
            <p:cNvPr id="9" name="_s1034"/>
            <p:cNvSpPr>
              <a:spLocks noChangeArrowheads="1" noTextEdit="1"/>
            </p:cNvSpPr>
            <p:nvPr/>
          </p:nvSpPr>
          <p:spPr bwMode="auto">
            <a:xfrm>
              <a:off x="7053481" y="3708623"/>
              <a:ext cx="1677595" cy="1501133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  <a:headEnd/>
              <a:tailEnd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defTabSz="1018532"/>
              <a:endParaRPr lang="en-GB" sz="1600" dirty="0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auto">
            <a:xfrm>
              <a:off x="7197497" y="4212679"/>
              <a:ext cx="1421061" cy="49244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912552">
                <a:spcAft>
                  <a:spcPct val="0"/>
                </a:spcAft>
              </a:pPr>
              <a:r>
                <a:rPr lang="ar-AE" sz="1600" dirty="0" smtClean="0">
                  <a:solidFill>
                    <a:srgbClr val="FFFFFF"/>
                  </a:solidFill>
                  <a:latin typeface="Georgia"/>
                </a:rPr>
                <a:t>استهداف المتعلمين الإلكترونيين</a:t>
              </a:r>
              <a:endParaRPr lang="en-GB" sz="1600" dirty="0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15" name="AutoShape 14"/>
            <p:cNvSpPr>
              <a:spLocks noChangeArrowheads="1"/>
            </p:cNvSpPr>
            <p:nvPr/>
          </p:nvSpPr>
          <p:spPr bwMode="auto">
            <a:xfrm>
              <a:off x="5653573" y="2700511"/>
              <a:ext cx="1781359" cy="936104"/>
            </a:xfrm>
            <a:prstGeom prst="roundRect">
              <a:avLst>
                <a:gd name="adj" fmla="val 16667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  <a:headEnd/>
              <a:tailEnd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 defTabSz="912552">
                <a:spcAft>
                  <a:spcPct val="0"/>
                </a:spcAft>
              </a:pPr>
              <a:r>
                <a:rPr lang="ar-SA" sz="1600" dirty="0" smtClean="0">
                  <a:solidFill>
                    <a:srgbClr val="FFFFFF"/>
                  </a:solidFill>
                  <a:latin typeface="Georgia"/>
                </a:rPr>
                <a:t>المسجلين في</a:t>
              </a:r>
              <a:r>
                <a:rPr lang="ar-AE" sz="1600" dirty="0" smtClean="0">
                  <a:solidFill>
                    <a:srgbClr val="FFFFFF"/>
                  </a:solidFill>
                  <a:latin typeface="Georgia"/>
                </a:rPr>
                <a:t> حافز</a:t>
              </a:r>
              <a:endParaRPr lang="en-GB" sz="1600" i="1" dirty="0">
                <a:solidFill>
                  <a:srgbClr val="2666A6"/>
                </a:solidFill>
                <a:latin typeface="Georgia"/>
              </a:endParaRPr>
            </a:p>
          </p:txBody>
        </p:sp>
        <p:sp>
          <p:nvSpPr>
            <p:cNvPr id="16" name="AutoShape 15"/>
            <p:cNvSpPr>
              <a:spLocks noChangeArrowheads="1"/>
            </p:cNvSpPr>
            <p:nvPr/>
          </p:nvSpPr>
          <p:spPr bwMode="auto">
            <a:xfrm>
              <a:off x="5899351" y="5292799"/>
              <a:ext cx="1520693" cy="1008112"/>
            </a:xfrm>
            <a:prstGeom prst="roundRect">
              <a:avLst>
                <a:gd name="adj" fmla="val 16667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  <a:headEnd/>
              <a:tailEnd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 defTabSz="912552">
                <a:spcAft>
                  <a:spcPct val="0"/>
                </a:spcAft>
              </a:pPr>
              <a:r>
                <a:rPr lang="ar-AE" sz="1600" dirty="0" smtClean="0">
                  <a:solidFill>
                    <a:srgbClr val="FFFFFF"/>
                  </a:solidFill>
                  <a:latin typeface="Georgia"/>
                </a:rPr>
                <a:t>تعزيز مؤهلات السعوديين الموظفين حالياً</a:t>
              </a:r>
              <a:endParaRPr lang="en-GB" sz="1600" dirty="0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17" name="AutoShape 16"/>
            <p:cNvSpPr>
              <a:spLocks noChangeArrowheads="1"/>
            </p:cNvSpPr>
            <p:nvPr/>
          </p:nvSpPr>
          <p:spPr bwMode="auto">
            <a:xfrm>
              <a:off x="9037949" y="3985090"/>
              <a:ext cx="1421319" cy="1307709"/>
            </a:xfrm>
            <a:prstGeom prst="roundRect">
              <a:avLst>
                <a:gd name="adj" fmla="val 16667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  <a:headEnd/>
              <a:tailEnd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 defTabSz="912552">
                <a:spcAft>
                  <a:spcPct val="0"/>
                </a:spcAft>
              </a:pPr>
              <a:r>
                <a:rPr lang="ar-AE" sz="1600" dirty="0" smtClean="0">
                  <a:solidFill>
                    <a:srgbClr val="FFFFFF"/>
                  </a:solidFill>
                  <a:latin typeface="Georgia"/>
                </a:rPr>
                <a:t>إعادة تأهيل الطلاب والذين </a:t>
              </a:r>
              <a:r>
                <a:rPr lang="ar-SA" sz="1600" dirty="0" smtClean="0">
                  <a:solidFill>
                    <a:srgbClr val="FFFFFF"/>
                  </a:solidFill>
                  <a:latin typeface="Georgia"/>
                </a:rPr>
                <a:t>لم يكملوا تعليمهم </a:t>
              </a:r>
              <a:r>
                <a:rPr lang="ar-AE" sz="1600" dirty="0" smtClean="0">
                  <a:solidFill>
                    <a:srgbClr val="FFFFFF"/>
                  </a:solidFill>
                  <a:latin typeface="Georgia"/>
                </a:rPr>
                <a:t>الثانوي</a:t>
              </a:r>
              <a:r>
                <a:rPr lang="ar-SA" sz="1600" dirty="0" smtClean="0">
                  <a:solidFill>
                    <a:srgbClr val="FFFFFF"/>
                  </a:solidFill>
                  <a:latin typeface="Georgia"/>
                </a:rPr>
                <a:t> او </a:t>
              </a:r>
              <a:r>
                <a:rPr lang="ar-AE" sz="1600" dirty="0" smtClean="0">
                  <a:solidFill>
                    <a:srgbClr val="FFFFFF"/>
                  </a:solidFill>
                  <a:latin typeface="Georgia"/>
                </a:rPr>
                <a:t>الجامع</a:t>
              </a:r>
              <a:r>
                <a:rPr lang="ar-SA" sz="1600" dirty="0" smtClean="0">
                  <a:solidFill>
                    <a:srgbClr val="FFFFFF"/>
                  </a:solidFill>
                  <a:latin typeface="Georgia"/>
                </a:rPr>
                <a:t>ي</a:t>
              </a:r>
              <a:r>
                <a:rPr lang="ar-AE" sz="1600" dirty="0" smtClean="0">
                  <a:solidFill>
                    <a:srgbClr val="FFFFFF"/>
                  </a:solidFill>
                  <a:latin typeface="Georgia"/>
                </a:rPr>
                <a:t> </a:t>
              </a:r>
              <a:endParaRPr lang="en-GB" sz="1600" dirty="0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18" name="AutoShape 17"/>
            <p:cNvSpPr>
              <a:spLocks noChangeArrowheads="1"/>
            </p:cNvSpPr>
            <p:nvPr/>
          </p:nvSpPr>
          <p:spPr bwMode="auto">
            <a:xfrm>
              <a:off x="8284140" y="2700511"/>
              <a:ext cx="2103120" cy="936104"/>
            </a:xfrm>
            <a:prstGeom prst="roundRect">
              <a:avLst>
                <a:gd name="adj" fmla="val 16667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  <a:headEnd/>
              <a:tailEnd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 defTabSz="912552">
                <a:spcAft>
                  <a:spcPct val="0"/>
                </a:spcAft>
              </a:pPr>
              <a:r>
                <a:rPr lang="ar-AE" sz="1600" dirty="0" smtClean="0">
                  <a:solidFill>
                    <a:srgbClr val="FFFFFF"/>
                  </a:solidFill>
                  <a:latin typeface="Georgia"/>
                </a:rPr>
                <a:t>إعداة تأهيل خريجي الجامعات ومعاهد التدريب المهني والفني </a:t>
              </a:r>
              <a:endParaRPr lang="en-GB" sz="1600" dirty="0">
                <a:solidFill>
                  <a:srgbClr val="FFFFFF"/>
                </a:solidFill>
                <a:latin typeface="Georgia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125515" y="2094829"/>
              <a:ext cx="386676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rtl="1"/>
              <a:r>
                <a:rPr lang="ar-AE" sz="2400" b="1" dirty="0" smtClean="0"/>
                <a:t>استهداف المتعلم الإلكتروني </a:t>
              </a:r>
              <a:r>
                <a:rPr lang="ar-AE" sz="2400" b="1" dirty="0" smtClean="0"/>
                <a:t>السعودي</a:t>
              </a:r>
              <a:endParaRPr lang="en-GB" sz="2400" b="1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234132" y="1476375"/>
              <a:ext cx="1045926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rtl="1"/>
              <a:r>
                <a:rPr lang="ar-SA" sz="2000" b="1" dirty="0" smtClean="0">
                  <a:solidFill>
                    <a:srgbClr val="FFC000"/>
                  </a:solidFill>
                </a:rPr>
                <a:t>من أهداف </a:t>
              </a:r>
              <a:r>
                <a:rPr lang="ar-AE" sz="2000" b="1" dirty="0" smtClean="0">
                  <a:solidFill>
                    <a:srgbClr val="FFC000"/>
                  </a:solidFill>
                </a:rPr>
                <a:t>صندوق </a:t>
              </a:r>
              <a:r>
                <a:rPr lang="ar-AE" sz="2000" b="1" dirty="0" smtClean="0">
                  <a:solidFill>
                    <a:srgbClr val="FFC000"/>
                  </a:solidFill>
                </a:rPr>
                <a:t>تنمية الموارد البشرية </a:t>
              </a:r>
              <a:r>
                <a:rPr lang="ar-AE" sz="2000" b="1" dirty="0" smtClean="0">
                  <a:solidFill>
                    <a:srgbClr val="FFC000"/>
                  </a:solidFill>
                </a:rPr>
                <a:t>قيادة </a:t>
              </a:r>
              <a:r>
                <a:rPr lang="ar-AE" sz="2000" b="1" dirty="0" smtClean="0">
                  <a:solidFill>
                    <a:srgbClr val="FFC000"/>
                  </a:solidFill>
                </a:rPr>
                <a:t>وتسهيل ودفع إنشاء </a:t>
              </a:r>
              <a:r>
                <a:rPr lang="ar-AE" sz="2000" b="1" dirty="0" smtClean="0">
                  <a:solidFill>
                    <a:srgbClr val="FFC000"/>
                  </a:solidFill>
                </a:rPr>
                <a:t>من</a:t>
              </a:r>
              <a:r>
                <a:rPr lang="ar-SA" sz="2000" b="1" dirty="0" smtClean="0">
                  <a:solidFill>
                    <a:srgbClr val="FFC000"/>
                  </a:solidFill>
                </a:rPr>
                <a:t>صات</a:t>
              </a:r>
              <a:r>
                <a:rPr lang="ar-AE" sz="2000" b="1" dirty="0" smtClean="0">
                  <a:solidFill>
                    <a:srgbClr val="FFC000"/>
                  </a:solidFill>
                </a:rPr>
                <a:t> </a:t>
              </a:r>
              <a:r>
                <a:rPr lang="ar-AE" sz="2000" b="1" dirty="0" smtClean="0">
                  <a:solidFill>
                    <a:srgbClr val="FFC000"/>
                  </a:solidFill>
                </a:rPr>
                <a:t>تعلّم إلكتروني </a:t>
              </a:r>
              <a:r>
                <a:rPr lang="ar-AE" sz="2000" b="1" dirty="0" smtClean="0">
                  <a:solidFill>
                    <a:srgbClr val="FFC000"/>
                  </a:solidFill>
                </a:rPr>
                <a:t>قوي</a:t>
              </a:r>
              <a:r>
                <a:rPr lang="ar-SA" sz="2000" b="1" dirty="0" smtClean="0">
                  <a:solidFill>
                    <a:srgbClr val="FFC000"/>
                  </a:solidFill>
                </a:rPr>
                <a:t>ة</a:t>
              </a:r>
              <a:r>
                <a:rPr lang="ar-AE" sz="2000" b="1" dirty="0" smtClean="0">
                  <a:solidFill>
                    <a:srgbClr val="FFC000"/>
                  </a:solidFill>
                </a:rPr>
                <a:t> </a:t>
              </a:r>
              <a:r>
                <a:rPr lang="ar-SA" sz="2000" b="1" dirty="0">
                  <a:solidFill>
                    <a:srgbClr val="FFC000"/>
                  </a:solidFill>
                </a:rPr>
                <a:t>ت</a:t>
              </a:r>
              <a:r>
                <a:rPr lang="ar-AE" sz="2000" b="1" dirty="0" smtClean="0">
                  <a:solidFill>
                    <a:srgbClr val="FFC000"/>
                  </a:solidFill>
                </a:rPr>
                <a:t>مكن كل ال</a:t>
              </a:r>
              <a:r>
                <a:rPr lang="ar-SA" sz="2000" b="1" dirty="0" smtClean="0">
                  <a:solidFill>
                    <a:srgbClr val="FFC000"/>
                  </a:solidFill>
                </a:rPr>
                <a:t>راغبين</a:t>
              </a:r>
              <a:r>
                <a:rPr lang="ar-AE" sz="2000" b="1" dirty="0" smtClean="0">
                  <a:solidFill>
                    <a:srgbClr val="FFC000"/>
                  </a:solidFill>
                </a:rPr>
                <a:t> </a:t>
              </a:r>
              <a:r>
                <a:rPr lang="ar-AE" sz="2000" b="1" dirty="0" smtClean="0">
                  <a:solidFill>
                    <a:srgbClr val="FFC000"/>
                  </a:solidFill>
                </a:rPr>
                <a:t>النفاذ </a:t>
              </a:r>
              <a:r>
                <a:rPr lang="ar-AE" sz="2000" b="1" dirty="0" smtClean="0">
                  <a:solidFill>
                    <a:srgbClr val="FFC000"/>
                  </a:solidFill>
                </a:rPr>
                <a:t>إليه</a:t>
              </a:r>
              <a:r>
                <a:rPr lang="ar-SA" sz="2000" b="1" dirty="0" smtClean="0">
                  <a:solidFill>
                    <a:srgbClr val="FFC000"/>
                  </a:solidFill>
                </a:rPr>
                <a:t>ا</a:t>
              </a:r>
              <a:endParaRPr lang="en-GB" sz="2000" b="1" dirty="0">
                <a:solidFill>
                  <a:srgbClr val="FFC000"/>
                </a:solidFill>
              </a:endParaRPr>
            </a:p>
          </p:txBody>
        </p:sp>
        <p:sp>
          <p:nvSpPr>
            <p:cNvPr id="34" name="AutoShape 14"/>
            <p:cNvSpPr>
              <a:spLocks noChangeArrowheads="1"/>
            </p:cNvSpPr>
            <p:nvPr/>
          </p:nvSpPr>
          <p:spPr bwMode="auto">
            <a:xfrm>
              <a:off x="5331812" y="3985090"/>
              <a:ext cx="1262415" cy="875661"/>
            </a:xfrm>
            <a:prstGeom prst="roundRect">
              <a:avLst>
                <a:gd name="adj" fmla="val 16667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  <a:headEnd/>
              <a:tailEnd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 defTabSz="912552">
                <a:spcAft>
                  <a:spcPct val="0"/>
                </a:spcAft>
              </a:pPr>
              <a:r>
                <a:rPr lang="ar-AE" sz="1600" dirty="0" smtClean="0">
                  <a:solidFill>
                    <a:srgbClr val="FFFFFF"/>
                  </a:solidFill>
                  <a:latin typeface="Georgia"/>
                </a:rPr>
                <a:t>الأميّون وال</a:t>
              </a:r>
              <a:r>
                <a:rPr lang="ar-SA" sz="1600" dirty="0" smtClean="0">
                  <a:solidFill>
                    <a:srgbClr val="FFFFFF"/>
                  </a:solidFill>
                  <a:latin typeface="Georgia"/>
                </a:rPr>
                <a:t>أشخاص ذوي الإعاقة</a:t>
              </a:r>
              <a:endParaRPr lang="en-GB" sz="1600" i="1" dirty="0">
                <a:solidFill>
                  <a:srgbClr val="2666A6"/>
                </a:solidFill>
                <a:latin typeface="Georgia"/>
              </a:endParaRPr>
            </a:p>
          </p:txBody>
        </p:sp>
        <p:sp>
          <p:nvSpPr>
            <p:cNvPr id="35" name="AutoShape 14"/>
            <p:cNvSpPr>
              <a:spLocks noChangeArrowheads="1"/>
            </p:cNvSpPr>
            <p:nvPr/>
          </p:nvSpPr>
          <p:spPr bwMode="auto">
            <a:xfrm>
              <a:off x="7972716" y="5364807"/>
              <a:ext cx="1694464" cy="1008112"/>
            </a:xfrm>
            <a:prstGeom prst="roundRect">
              <a:avLst>
                <a:gd name="adj" fmla="val 16667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  <a:headEnd/>
              <a:tailEnd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 defTabSz="912552">
                <a:spcAft>
                  <a:spcPct val="0"/>
                </a:spcAft>
              </a:pPr>
              <a:r>
                <a:rPr lang="ar-AE" sz="1600" dirty="0" smtClean="0">
                  <a:solidFill>
                    <a:srgbClr val="FFFFFF"/>
                  </a:solidFill>
                  <a:latin typeface="Georgia"/>
                </a:rPr>
                <a:t>فرص التعلم المست</a:t>
              </a:r>
              <a:r>
                <a:rPr lang="ar-SA" sz="1600" dirty="0" smtClean="0">
                  <a:solidFill>
                    <a:srgbClr val="FFFFFF"/>
                  </a:solidFill>
                  <a:latin typeface="Georgia"/>
                </a:rPr>
                <a:t>مر </a:t>
              </a:r>
              <a:r>
                <a:rPr lang="ar-AE" sz="1600" dirty="0" smtClean="0">
                  <a:solidFill>
                    <a:srgbClr val="FFFFFF"/>
                  </a:solidFill>
                  <a:latin typeface="Georgia"/>
                </a:rPr>
                <a:t>لعموم ال</a:t>
              </a:r>
              <a:r>
                <a:rPr lang="ar-SA" sz="1600" dirty="0" smtClean="0">
                  <a:solidFill>
                    <a:srgbClr val="FFFFFF"/>
                  </a:solidFill>
                  <a:latin typeface="Georgia"/>
                </a:rPr>
                <a:t>مجتمع</a:t>
              </a:r>
              <a:endParaRPr lang="en-GB" sz="1600" i="1" dirty="0">
                <a:solidFill>
                  <a:srgbClr val="2666A6"/>
                </a:solidFill>
                <a:latin typeface="Georgia"/>
              </a:endParaRPr>
            </a:p>
          </p:txBody>
        </p:sp>
        <p:sp>
          <p:nvSpPr>
            <p:cNvPr id="32" name="AutoShape 18"/>
            <p:cNvSpPr>
              <a:spLocks noChangeArrowheads="1"/>
            </p:cNvSpPr>
            <p:nvPr/>
          </p:nvSpPr>
          <p:spPr bwMode="auto">
            <a:xfrm rot="10800000">
              <a:off x="162125" y="3609762"/>
              <a:ext cx="4593976" cy="979134"/>
            </a:xfrm>
            <a:prstGeom prst="leftArrow">
              <a:avLst>
                <a:gd name="adj1" fmla="val 84565"/>
                <a:gd name="adj2" fmla="val 53588"/>
              </a:avLst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style>
            <a:lnRef idx="0">
              <a:scrgbClr r="0" g="0" b="0"/>
            </a:lnRef>
            <a:fillRef idx="1002">
              <a:schemeClr val="dk2"/>
            </a:fillRef>
            <a:effectRef idx="0">
              <a:scrgbClr r="0" g="0" b="0"/>
            </a:effectRef>
            <a:fontRef idx="major"/>
          </p:style>
          <p:txBody>
            <a:bodyPr lIns="0" tIns="0" rIns="0" bIns="0" anchor="ctr"/>
            <a:lstStyle/>
            <a:p>
              <a:pPr algn="just" defTabSz="912552">
                <a:spcAft>
                  <a:spcPct val="0"/>
                </a:spcAft>
                <a:defRPr/>
              </a:pPr>
              <a:endParaRPr lang="en-GB" sz="1000" dirty="0">
                <a:solidFill>
                  <a:srgbClr val="FFFFFF"/>
                </a:solidFill>
              </a:endParaRPr>
            </a:p>
          </p:txBody>
        </p:sp>
        <p:sp>
          <p:nvSpPr>
            <p:cNvPr id="33" name="AutoShape 19"/>
            <p:cNvSpPr>
              <a:spLocks noChangeArrowheads="1"/>
            </p:cNvSpPr>
            <p:nvPr/>
          </p:nvSpPr>
          <p:spPr bwMode="auto">
            <a:xfrm rot="10800000">
              <a:off x="162125" y="4566931"/>
              <a:ext cx="4593976" cy="1155193"/>
            </a:xfrm>
            <a:prstGeom prst="leftArrow">
              <a:avLst>
                <a:gd name="adj1" fmla="val 84565"/>
                <a:gd name="adj2" fmla="val 45421"/>
              </a:avLst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style>
            <a:lnRef idx="0">
              <a:scrgbClr r="0" g="0" b="0"/>
            </a:lnRef>
            <a:fillRef idx="1002">
              <a:schemeClr val="dk2"/>
            </a:fillRef>
            <a:effectRef idx="0">
              <a:scrgbClr r="0" g="0" b="0"/>
            </a:effectRef>
            <a:fontRef idx="major"/>
          </p:style>
          <p:txBody>
            <a:bodyPr lIns="0" tIns="0" rIns="0" bIns="0" anchor="ctr"/>
            <a:lstStyle/>
            <a:p>
              <a:pPr algn="just" defTabSz="912552">
                <a:spcAft>
                  <a:spcPct val="0"/>
                </a:spcAft>
                <a:defRPr/>
              </a:pPr>
              <a:endParaRPr lang="en-GB" sz="1000" dirty="0">
                <a:solidFill>
                  <a:srgbClr val="FFFFFF"/>
                </a:solidFill>
              </a:endParaRPr>
            </a:p>
          </p:txBody>
        </p:sp>
        <p:sp>
          <p:nvSpPr>
            <p:cNvPr id="36" name="AutoShape 20"/>
            <p:cNvSpPr>
              <a:spLocks noChangeArrowheads="1"/>
            </p:cNvSpPr>
            <p:nvPr/>
          </p:nvSpPr>
          <p:spPr bwMode="auto">
            <a:xfrm rot="10800000">
              <a:off x="162125" y="5679094"/>
              <a:ext cx="4592288" cy="979134"/>
            </a:xfrm>
            <a:prstGeom prst="leftArrow">
              <a:avLst>
                <a:gd name="adj1" fmla="val 84565"/>
                <a:gd name="adj2" fmla="val 53568"/>
              </a:avLst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style>
            <a:lnRef idx="0">
              <a:scrgbClr r="0" g="0" b="0"/>
            </a:lnRef>
            <a:fillRef idx="1002">
              <a:schemeClr val="dk2"/>
            </a:fillRef>
            <a:effectRef idx="0">
              <a:scrgbClr r="0" g="0" b="0"/>
            </a:effectRef>
            <a:fontRef idx="major"/>
          </p:style>
          <p:txBody>
            <a:bodyPr lIns="0" tIns="0" rIns="0" bIns="0" anchor="ctr"/>
            <a:lstStyle/>
            <a:p>
              <a:pPr algn="just" defTabSz="912552">
                <a:spcAft>
                  <a:spcPct val="0"/>
                </a:spcAft>
                <a:defRPr/>
              </a:pPr>
              <a:endParaRPr lang="en-GB" sz="1000" dirty="0">
                <a:solidFill>
                  <a:srgbClr val="FFFFFF"/>
                </a:solidFill>
              </a:endParaRPr>
            </a:p>
          </p:txBody>
        </p:sp>
        <p:sp>
          <p:nvSpPr>
            <p:cNvPr id="37" name="AutoShape 21"/>
            <p:cNvSpPr>
              <a:spLocks noChangeArrowheads="1"/>
            </p:cNvSpPr>
            <p:nvPr/>
          </p:nvSpPr>
          <p:spPr bwMode="auto">
            <a:xfrm rot="10800000">
              <a:off x="162125" y="2556496"/>
              <a:ext cx="4592288" cy="1053263"/>
            </a:xfrm>
            <a:prstGeom prst="leftArrow">
              <a:avLst>
                <a:gd name="adj1" fmla="val 84565"/>
                <a:gd name="adj2" fmla="val 49798"/>
              </a:avLst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style>
            <a:lnRef idx="0">
              <a:scrgbClr r="0" g="0" b="0"/>
            </a:lnRef>
            <a:fillRef idx="1002">
              <a:schemeClr val="dk2"/>
            </a:fillRef>
            <a:effectRef idx="0">
              <a:scrgbClr r="0" g="0" b="0"/>
            </a:effectRef>
            <a:fontRef idx="major"/>
          </p:style>
          <p:txBody>
            <a:bodyPr lIns="0" tIns="0" rIns="0" bIns="0" anchor="ctr"/>
            <a:lstStyle/>
            <a:p>
              <a:pPr algn="just" defTabSz="912552">
                <a:spcAft>
                  <a:spcPct val="0"/>
                </a:spcAft>
                <a:defRPr/>
              </a:pPr>
              <a:endParaRPr lang="en-GB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912383" y="2124447"/>
              <a:ext cx="952505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rtl="1"/>
              <a:r>
                <a:rPr lang="ar-AE" sz="2400" b="1" dirty="0" smtClean="0"/>
                <a:t>الأهداف</a:t>
              </a:r>
              <a:endParaRPr lang="en-GB" sz="1800" b="1" dirty="0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280358" y="2628503"/>
              <a:ext cx="396044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rtl="1"/>
              <a:r>
                <a:rPr lang="ar-AE" sz="1800" dirty="0" smtClean="0">
                  <a:solidFill>
                    <a:schemeClr val="bg1"/>
                  </a:solidFill>
                </a:rPr>
                <a:t>ربط مخرجات التعليم الإلكتروني بفرص العمل الحالية والمستقبلية في المملكة  </a:t>
              </a: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280358" y="3782372"/>
              <a:ext cx="396044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rtl="1"/>
              <a:r>
                <a:rPr lang="ar-AE" sz="1800" dirty="0" smtClean="0">
                  <a:solidFill>
                    <a:schemeClr val="bg1"/>
                  </a:solidFill>
                </a:rPr>
                <a:t>تحفيز مقدمي الدورات التدريبية للاستثمار في تعريب مضمون التعلّم الإلكتروني </a:t>
              </a: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280358" y="4788743"/>
              <a:ext cx="396044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rtl="1"/>
              <a:r>
                <a:rPr lang="ar-AE" sz="1800" dirty="0" smtClean="0">
                  <a:solidFill>
                    <a:schemeClr val="bg1"/>
                  </a:solidFill>
                </a:rPr>
                <a:t>توفير حلول تدريب فعالة</a:t>
              </a:r>
              <a:r>
                <a:rPr lang="ar-SA" sz="1800" dirty="0" smtClean="0">
                  <a:solidFill>
                    <a:schemeClr val="bg1"/>
                  </a:solidFill>
                </a:rPr>
                <a:t> غير مكلفة وقابلة للتوسع</a:t>
              </a:r>
              <a:r>
                <a:rPr lang="ar-AE" sz="1800" dirty="0" smtClean="0">
                  <a:solidFill>
                    <a:schemeClr val="bg1"/>
                  </a:solidFill>
                </a:rPr>
                <a:t>  </a:t>
              </a: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280358" y="5724847"/>
              <a:ext cx="3960440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rtl="1"/>
              <a:r>
                <a:rPr lang="ar-AE" sz="1800" dirty="0" smtClean="0">
                  <a:solidFill>
                    <a:schemeClr val="bg1"/>
                  </a:solidFill>
                </a:rPr>
                <a:t>ت</a:t>
              </a:r>
              <a:r>
                <a:rPr lang="ar-SA" sz="1800" dirty="0" smtClean="0">
                  <a:solidFill>
                    <a:schemeClr val="bg1"/>
                  </a:solidFill>
                </a:rPr>
                <a:t>زويد</a:t>
              </a:r>
              <a:r>
                <a:rPr lang="ar-AE" sz="1800" dirty="0" smtClean="0">
                  <a:solidFill>
                    <a:schemeClr val="bg1"/>
                  </a:solidFill>
                </a:rPr>
                <a:t> </a:t>
              </a:r>
              <a:r>
                <a:rPr lang="ar-SA" sz="1800" dirty="0" smtClean="0">
                  <a:solidFill>
                    <a:schemeClr val="bg1"/>
                  </a:solidFill>
                </a:rPr>
                <a:t>طالب العمل والموظف السعودي</a:t>
              </a:r>
              <a:r>
                <a:rPr lang="ar-AE" sz="1800" dirty="0" smtClean="0">
                  <a:solidFill>
                    <a:schemeClr val="bg1"/>
                  </a:solidFill>
                </a:rPr>
                <a:t> بمهارات مهنية رقمية قابلة للتطبيق </a:t>
              </a:r>
              <a:r>
                <a:rPr lang="ar-SA" sz="1800" dirty="0" smtClean="0">
                  <a:solidFill>
                    <a:schemeClr val="bg1"/>
                  </a:solidFill>
                </a:rPr>
                <a:t>و</a:t>
              </a:r>
              <a:r>
                <a:rPr lang="ar-AE" sz="1800" dirty="0" smtClean="0">
                  <a:solidFill>
                    <a:schemeClr val="bg1"/>
                  </a:solidFill>
                </a:rPr>
                <a:t>تتناسب مع </a:t>
              </a:r>
              <a:r>
                <a:rPr lang="ar-SA" sz="1800" dirty="0" smtClean="0">
                  <a:solidFill>
                    <a:schemeClr val="bg1"/>
                  </a:solidFill>
                </a:rPr>
                <a:t>احتياجات </a:t>
              </a:r>
              <a:r>
                <a:rPr lang="ar-AE" sz="1800" dirty="0" smtClean="0">
                  <a:solidFill>
                    <a:schemeClr val="bg1"/>
                  </a:solidFill>
                </a:rPr>
                <a:t>ال</a:t>
              </a:r>
              <a:r>
                <a:rPr lang="ar-SA" sz="1800" dirty="0" smtClean="0">
                  <a:solidFill>
                    <a:schemeClr val="bg1"/>
                  </a:solidFill>
                </a:rPr>
                <a:t>عصر</a:t>
              </a:r>
              <a:r>
                <a:rPr lang="ar-AE" sz="1800" dirty="0" smtClean="0">
                  <a:solidFill>
                    <a:schemeClr val="bg1"/>
                  </a:solidFill>
                </a:rPr>
                <a:t> </a:t>
              </a:r>
              <a:endParaRPr lang="en-US" sz="18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2220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1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690517" y="108225"/>
            <a:ext cx="6840760" cy="1080119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 fontScale="75000" lnSpcReduction="20000"/>
          </a:bodyPr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ar-AE" dirty="0" smtClean="0">
                <a:solidFill>
                  <a:prstClr val="white"/>
                </a:solidFill>
              </a:rPr>
              <a:t>استراتيجية التعلّم الإلكتروني </a:t>
            </a:r>
            <a:r>
              <a:rPr lang="ar-AE" dirty="0" err="1" smtClean="0">
                <a:solidFill>
                  <a:prstClr val="white"/>
                </a:solidFill>
              </a:rPr>
              <a:t>للصندو</a:t>
            </a:r>
            <a:r>
              <a:rPr lang="ar-SA" dirty="0" smtClean="0">
                <a:solidFill>
                  <a:prstClr val="white"/>
                </a:solidFill>
              </a:rPr>
              <a:t>ق </a:t>
            </a:r>
          </a:p>
          <a:p>
            <a:pPr algn="r"/>
            <a:r>
              <a:rPr lang="ar-SA" dirty="0" smtClean="0">
                <a:solidFill>
                  <a:prstClr val="white"/>
                </a:solidFill>
              </a:rPr>
              <a:t> </a:t>
            </a:r>
            <a:r>
              <a:rPr lang="ar-AE" dirty="0" err="1" smtClean="0">
                <a:solidFill>
                  <a:prstClr val="white"/>
                </a:solidFill>
              </a:rPr>
              <a:t>االمح</a:t>
            </a:r>
            <a:r>
              <a:rPr lang="ar-SA" dirty="0" err="1" smtClean="0">
                <a:solidFill>
                  <a:prstClr val="white"/>
                </a:solidFill>
              </a:rPr>
              <a:t>قق</a:t>
            </a:r>
            <a:r>
              <a:rPr lang="ar-AE" dirty="0" smtClean="0">
                <a:solidFill>
                  <a:prstClr val="white"/>
                </a:solidFill>
              </a:rPr>
              <a:t> حتى </a:t>
            </a:r>
            <a:r>
              <a:rPr lang="ar-SA" dirty="0" smtClean="0">
                <a:solidFill>
                  <a:prstClr val="white"/>
                </a:solidFill>
              </a:rPr>
              <a:t>الآن في المسار السريع</a:t>
            </a:r>
            <a:endParaRPr lang="en-GB" dirty="0" smtClean="0">
              <a:solidFill>
                <a:prstClr val="white"/>
              </a:solidFill>
            </a:endParaRPr>
          </a:p>
        </p:txBody>
      </p:sp>
      <p:grpSp>
        <p:nvGrpSpPr>
          <p:cNvPr id="24" name="Group 23"/>
          <p:cNvGrpSpPr/>
          <p:nvPr/>
        </p:nvGrpSpPr>
        <p:grpSpPr>
          <a:xfrm flipH="1">
            <a:off x="491829" y="1698774"/>
            <a:ext cx="9756201" cy="4764930"/>
            <a:chOff x="491828" y="1698774"/>
            <a:chExt cx="9756201" cy="4764930"/>
          </a:xfrm>
        </p:grpSpPr>
        <p:sp>
          <p:nvSpPr>
            <p:cNvPr id="6" name="AutoShape 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91828" y="3055777"/>
              <a:ext cx="2193518" cy="3389150"/>
            </a:xfrm>
            <a:prstGeom prst="flowChartAlternateProcess">
              <a:avLst/>
            </a:prstGeom>
            <a:solidFill>
              <a:schemeClr val="accent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wrap="none" lIns="99562" tIns="99562" rIns="99562" bIns="99562" anchor="ctr"/>
            <a:lstStyle/>
            <a:p>
              <a:pPr defTabSz="995451"/>
              <a:endParaRPr lang="en-US" sz="1700" dirty="0">
                <a:solidFill>
                  <a:srgbClr val="000000"/>
                </a:solidFill>
              </a:endParaRPr>
            </a:p>
          </p:txBody>
        </p:sp>
        <p:sp>
          <p:nvSpPr>
            <p:cNvPr id="7" name="Rectangl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549896" y="3041774"/>
              <a:ext cx="2122649" cy="3259137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78396" tIns="99562" rIns="78396" bIns="99562"/>
            <a:lstStyle/>
            <a:p>
              <a:pPr marL="114280">
                <a:spcBef>
                  <a:spcPct val="20000"/>
                </a:spcBef>
              </a:pPr>
              <a:endParaRPr lang="en-US" sz="1600" dirty="0" smtClean="0">
                <a:solidFill>
                  <a:schemeClr val="bg1"/>
                </a:solidFill>
              </a:endParaRPr>
            </a:p>
            <a:p>
              <a:pPr marL="114280">
                <a:spcBef>
                  <a:spcPct val="20000"/>
                </a:spcBef>
              </a:pPr>
              <a:endParaRPr lang="en-US" sz="1600" dirty="0" smtClean="0">
                <a:solidFill>
                  <a:schemeClr val="bg1"/>
                </a:solidFill>
              </a:endParaRPr>
            </a:p>
            <a:p>
              <a:pPr marL="114280" algn="r" rtl="1">
                <a:spcBef>
                  <a:spcPct val="20000"/>
                </a:spcBef>
              </a:pPr>
              <a:r>
                <a:rPr lang="ar-AE" sz="1600" dirty="0" smtClean="0">
                  <a:solidFill>
                    <a:schemeClr val="bg1"/>
                  </a:solidFill>
                </a:rPr>
                <a:t>أطلق مشروع التدريب الإلكتروني لصندوق تنمية الموارد البشرية في 1 يناير 2012 </a:t>
              </a:r>
              <a:r>
                <a:rPr lang="ar-SA" sz="1600" dirty="0">
                  <a:solidFill>
                    <a:schemeClr val="bg1"/>
                  </a:solidFill>
                </a:rPr>
                <a:t>و</a:t>
              </a:r>
              <a:r>
                <a:rPr lang="ar-AE" sz="1600" dirty="0" smtClean="0">
                  <a:solidFill>
                    <a:schemeClr val="bg1"/>
                  </a:solidFill>
                </a:rPr>
                <a:t>التوقيع </a:t>
              </a:r>
              <a:r>
                <a:rPr lang="ar-AE" sz="1600" dirty="0" smtClean="0">
                  <a:solidFill>
                    <a:schemeClr val="bg1"/>
                  </a:solidFill>
                </a:rPr>
                <a:t>على العقد مع كل من </a:t>
              </a:r>
              <a:r>
                <a:rPr lang="ar-SA" sz="1600" dirty="0" smtClean="0">
                  <a:solidFill>
                    <a:schemeClr val="bg1"/>
                  </a:solidFill>
                </a:rPr>
                <a:t>عدد من الشركاء</a:t>
              </a:r>
              <a:endParaRPr lang="en-US" sz="16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8" name="Rectangle 1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491828" y="2450599"/>
              <a:ext cx="2200374" cy="493158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algn="ctr" rotWithShape="0">
                <a:schemeClr val="tx2"/>
              </a:outerShdw>
            </a:effectLst>
          </p:spPr>
          <p:txBody>
            <a:bodyPr lIns="99562" tIns="99562" rIns="99562" bIns="99562" anchor="b">
              <a:spAutoFit/>
            </a:bodyPr>
            <a:lstStyle/>
            <a:p>
              <a:pPr algn="ctr" defTabSz="995451" rtl="1"/>
              <a:r>
                <a:rPr lang="ar-AE" sz="1800" b="1" dirty="0" smtClean="0">
                  <a:solidFill>
                    <a:srgbClr val="000000"/>
                  </a:solidFill>
                </a:rPr>
                <a:t>توقيع العقد</a:t>
              </a:r>
              <a:endParaRPr lang="en-US" sz="1800" b="1" dirty="0">
                <a:solidFill>
                  <a:srgbClr val="000000"/>
                </a:solidFill>
              </a:endParaRPr>
            </a:p>
          </p:txBody>
        </p:sp>
        <p:sp>
          <p:nvSpPr>
            <p:cNvPr id="11" name="Rectangle 1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2998950" y="2450599"/>
              <a:ext cx="2200374" cy="493158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algn="ctr" rotWithShape="0">
                <a:schemeClr val="tx2"/>
              </a:outerShdw>
            </a:effectLst>
          </p:spPr>
          <p:txBody>
            <a:bodyPr lIns="99562" tIns="99562" rIns="99562" bIns="99562" anchor="b">
              <a:spAutoFit/>
            </a:bodyPr>
            <a:lstStyle/>
            <a:p>
              <a:pPr algn="ctr" defTabSz="995451"/>
              <a:r>
                <a:rPr lang="ar-AE" sz="1800" b="1" dirty="0" smtClean="0">
                  <a:solidFill>
                    <a:srgbClr val="000000"/>
                  </a:solidFill>
                </a:rPr>
                <a:t>المرحلة صفر</a:t>
              </a:r>
              <a:endParaRPr lang="en-US" sz="1800" b="1" dirty="0">
                <a:solidFill>
                  <a:srgbClr val="000000"/>
                </a:solidFill>
              </a:endParaRPr>
            </a:p>
          </p:txBody>
        </p:sp>
        <p:sp>
          <p:nvSpPr>
            <p:cNvPr id="12" name="AutoShape 1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 rot="5400000">
              <a:off x="1575796" y="4514598"/>
              <a:ext cx="2534423" cy="241630"/>
            </a:xfrm>
            <a:prstGeom prst="triangle">
              <a:avLst>
                <a:gd name="adj" fmla="val 50000"/>
              </a:avLst>
            </a:prstGeom>
            <a:solidFill>
              <a:srgbClr val="B2B2B2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rot="10800000" vert="eaVert" wrap="none" lIns="99562" tIns="49782" rIns="99562" bIns="49782" anchor="ctr"/>
            <a:lstStyle/>
            <a:p>
              <a:pPr defTabSz="995451"/>
              <a:endParaRPr lang="en-AU" sz="1700" b="1" dirty="0">
                <a:solidFill>
                  <a:srgbClr val="000000"/>
                </a:solidFill>
              </a:endParaRPr>
            </a:p>
          </p:txBody>
        </p:sp>
        <p:sp>
          <p:nvSpPr>
            <p:cNvPr id="13" name="Rectangle 1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5495791" y="2450600"/>
              <a:ext cx="2200374" cy="493158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algn="ctr" rotWithShape="0">
                <a:schemeClr val="tx2"/>
              </a:outerShdw>
            </a:effectLst>
          </p:spPr>
          <p:txBody>
            <a:bodyPr lIns="99562" tIns="99562" rIns="99562" bIns="99562" anchor="b">
              <a:spAutoFit/>
            </a:bodyPr>
            <a:lstStyle/>
            <a:p>
              <a:pPr algn="ctr" defTabSz="995451"/>
              <a:r>
                <a:rPr lang="ar-AE" sz="1800" b="1" dirty="0" smtClean="0">
                  <a:solidFill>
                    <a:srgbClr val="000000"/>
                  </a:solidFill>
                </a:rPr>
                <a:t>المرحلة الأولى</a:t>
              </a:r>
              <a:endParaRPr lang="en-US" sz="1800" b="1" dirty="0">
                <a:solidFill>
                  <a:srgbClr val="000000"/>
                </a:solidFill>
              </a:endParaRPr>
            </a:p>
          </p:txBody>
        </p:sp>
        <p:sp>
          <p:nvSpPr>
            <p:cNvPr id="14" name="AutoShape 1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 rot="5400000">
              <a:off x="4081205" y="4514598"/>
              <a:ext cx="2534423" cy="241630"/>
            </a:xfrm>
            <a:prstGeom prst="triangle">
              <a:avLst>
                <a:gd name="adj" fmla="val 50000"/>
              </a:avLst>
            </a:prstGeom>
            <a:solidFill>
              <a:srgbClr val="B2B2B2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rot="10800000" vert="eaVert" wrap="none" lIns="99562" tIns="49782" rIns="99562" bIns="49782" anchor="ctr"/>
            <a:lstStyle/>
            <a:p>
              <a:pPr defTabSz="995451"/>
              <a:endParaRPr lang="en-AU" sz="1700" b="1" dirty="0">
                <a:solidFill>
                  <a:srgbClr val="000000"/>
                </a:solidFill>
              </a:endParaRPr>
            </a:p>
          </p:txBody>
        </p:sp>
        <p:sp>
          <p:nvSpPr>
            <p:cNvPr id="17" name="Rectangle 14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8047652" y="2450600"/>
              <a:ext cx="2200374" cy="493158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>
              <a:outerShdw dist="25400" dir="5400000" algn="ctr" rotWithShape="0">
                <a:schemeClr val="tx2"/>
              </a:outerShdw>
            </a:effectLst>
          </p:spPr>
          <p:txBody>
            <a:bodyPr lIns="99562" tIns="99562" rIns="99562" bIns="99562" anchor="b">
              <a:spAutoFit/>
            </a:bodyPr>
            <a:lstStyle/>
            <a:p>
              <a:pPr algn="ctr" defTabSz="995451"/>
              <a:r>
                <a:rPr lang="ar-AE" sz="1800" b="1" dirty="0" smtClean="0">
                  <a:solidFill>
                    <a:srgbClr val="000000"/>
                  </a:solidFill>
                </a:rPr>
                <a:t>المرحلة الثانية</a:t>
              </a:r>
              <a:endParaRPr lang="en-US" sz="1800" b="1" dirty="0">
                <a:solidFill>
                  <a:srgbClr val="000000"/>
                </a:solidFill>
              </a:endParaRPr>
            </a:p>
          </p:txBody>
        </p:sp>
        <p:sp>
          <p:nvSpPr>
            <p:cNvPr id="18" name="AutoShape 17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 rot="5400000">
              <a:off x="6586614" y="4514598"/>
              <a:ext cx="2534423" cy="241630"/>
            </a:xfrm>
            <a:prstGeom prst="triangle">
              <a:avLst>
                <a:gd name="adj" fmla="val 50000"/>
              </a:avLst>
            </a:prstGeom>
            <a:solidFill>
              <a:srgbClr val="B2B2B2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  <a:effectLst/>
          </p:spPr>
          <p:txBody>
            <a:bodyPr rot="10800000" vert="eaVert" wrap="none" lIns="99562" tIns="49782" rIns="99562" bIns="49782" anchor="ctr"/>
            <a:lstStyle/>
            <a:p>
              <a:pPr defTabSz="995451"/>
              <a:endParaRPr lang="en-AU" sz="1700" b="1" dirty="0">
                <a:solidFill>
                  <a:srgbClr val="000000"/>
                </a:solidFill>
              </a:endParaRPr>
            </a:p>
          </p:txBody>
        </p:sp>
        <p:sp>
          <p:nvSpPr>
            <p:cNvPr id="19" name="AutoShape 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2665923" y="1698774"/>
              <a:ext cx="2608770" cy="588098"/>
            </a:xfrm>
            <a:prstGeom prst="chevron">
              <a:avLst>
                <a:gd name="adj" fmla="val 28646"/>
              </a:avLst>
            </a:prstGeom>
            <a:solidFill>
              <a:schemeClr val="tx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99125" tIns="99562" rIns="99562" bIns="99562" anchor="ctr"/>
            <a:lstStyle/>
            <a:p>
              <a:pPr algn="ctr" defTabSz="995451" rtl="1" eaLnBrk="0" hangingPunct="0"/>
              <a:r>
                <a:rPr lang="ar-AE" sz="1800" b="1" dirty="0" smtClean="0">
                  <a:solidFill>
                    <a:srgbClr val="FFFFFF"/>
                  </a:solidFill>
                </a:rPr>
                <a:t>إطلاق المشروع</a:t>
              </a:r>
              <a:endParaRPr lang="en-US" sz="1800" b="1" dirty="0">
                <a:solidFill>
                  <a:srgbClr val="FFFFFF"/>
                </a:solidFill>
              </a:endParaRPr>
            </a:p>
          </p:txBody>
        </p:sp>
        <p:sp>
          <p:nvSpPr>
            <p:cNvPr id="20" name="AutoShape 2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491828" y="1698774"/>
              <a:ext cx="2365744" cy="588098"/>
            </a:xfrm>
            <a:prstGeom prst="homePlate">
              <a:avLst>
                <a:gd name="adj" fmla="val 28961"/>
              </a:avLst>
            </a:prstGeom>
            <a:solidFill>
              <a:schemeClr val="tx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99125" tIns="99562" rIns="99562" bIns="99562" anchor="ctr"/>
            <a:lstStyle/>
            <a:p>
              <a:pPr algn="ctr" defTabSz="995451" eaLnBrk="0" hangingPunct="0"/>
              <a:r>
                <a:rPr lang="ar-AE" sz="1800" b="1" dirty="0" smtClean="0">
                  <a:solidFill>
                    <a:srgbClr val="FFFFFF"/>
                  </a:solidFill>
                </a:rPr>
                <a:t>يناير 2012</a:t>
              </a:r>
              <a:endParaRPr lang="en-US" sz="1800" b="1" dirty="0">
                <a:solidFill>
                  <a:srgbClr val="FFFFFF"/>
                </a:solidFill>
              </a:endParaRPr>
            </a:p>
          </p:txBody>
        </p:sp>
        <p:sp>
          <p:nvSpPr>
            <p:cNvPr id="21" name="AutoShape 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5058669" y="1698774"/>
              <a:ext cx="5189360" cy="588098"/>
            </a:xfrm>
            <a:prstGeom prst="chevron">
              <a:avLst>
                <a:gd name="adj" fmla="val 28660"/>
              </a:avLst>
            </a:prstGeom>
            <a:solidFill>
              <a:schemeClr val="tx2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99125" tIns="99562" rIns="99562" bIns="99562" anchor="ctr"/>
            <a:lstStyle/>
            <a:p>
              <a:pPr algn="ctr" defTabSz="995451" rtl="1" eaLnBrk="0" hangingPunct="0"/>
              <a:r>
                <a:rPr lang="ar-AE" sz="1800" b="1" dirty="0" smtClean="0">
                  <a:solidFill>
                    <a:srgbClr val="FFFFFF"/>
                  </a:solidFill>
                </a:rPr>
                <a:t>الخطوات التالية</a:t>
              </a:r>
              <a:endParaRPr lang="en-US" sz="1800" b="1" dirty="0">
                <a:solidFill>
                  <a:srgbClr val="FFFFFF"/>
                </a:solidFill>
              </a:endParaRPr>
            </a:p>
          </p:txBody>
        </p:sp>
        <p:sp>
          <p:nvSpPr>
            <p:cNvPr id="22" name="AutoShape 2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081174" y="3074554"/>
              <a:ext cx="2193518" cy="3389150"/>
            </a:xfrm>
            <a:prstGeom prst="flowChartAlternateProcess">
              <a:avLst/>
            </a:prstGeom>
            <a:solidFill>
              <a:schemeClr val="accent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wrap="none" lIns="99562" tIns="99562" rIns="99562" bIns="99562" anchor="ctr"/>
            <a:lstStyle/>
            <a:p>
              <a:pPr defTabSz="995451"/>
              <a:endParaRPr lang="en-US" sz="1700" dirty="0">
                <a:solidFill>
                  <a:srgbClr val="000000"/>
                </a:solidFill>
              </a:endParaRPr>
            </a:p>
          </p:txBody>
        </p:sp>
        <p:sp>
          <p:nvSpPr>
            <p:cNvPr id="23" name="Rectangle 2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3139242" y="3060551"/>
              <a:ext cx="2122649" cy="3259137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78396" tIns="99562" rIns="78396" bIns="99562"/>
            <a:lstStyle/>
            <a:p>
              <a:pPr marL="114280" algn="r" rtl="1">
                <a:spcBef>
                  <a:spcPct val="20000"/>
                </a:spcBef>
              </a:pPr>
              <a:r>
                <a:rPr lang="ar-AE" sz="1600" dirty="0" smtClean="0">
                  <a:solidFill>
                    <a:schemeClr val="bg1"/>
                  </a:solidFill>
                </a:rPr>
                <a:t>قدّمت </a:t>
              </a:r>
              <a:r>
                <a:rPr lang="ar-AE" sz="1600" dirty="0" smtClean="0">
                  <a:solidFill>
                    <a:schemeClr val="bg1"/>
                  </a:solidFill>
                </a:rPr>
                <a:t>أربع</a:t>
              </a:r>
              <a:r>
                <a:rPr lang="ar-SA" sz="1600" dirty="0" smtClean="0">
                  <a:solidFill>
                    <a:schemeClr val="bg1"/>
                  </a:solidFill>
                </a:rPr>
                <a:t>ة</a:t>
              </a:r>
              <a:r>
                <a:rPr lang="ar-AE" sz="1600" dirty="0" smtClean="0">
                  <a:solidFill>
                    <a:schemeClr val="bg1"/>
                  </a:solidFill>
                </a:rPr>
                <a:t> </a:t>
              </a:r>
              <a:r>
                <a:rPr lang="ar-AE" sz="1600" dirty="0" smtClean="0">
                  <a:solidFill>
                    <a:schemeClr val="bg1"/>
                  </a:solidFill>
                </a:rPr>
                <a:t>برامج تدريب إلكتروني لـ500 ألف باحث عن </a:t>
              </a:r>
              <a:r>
                <a:rPr lang="ar-SA" sz="1600" dirty="0" smtClean="0">
                  <a:solidFill>
                    <a:schemeClr val="bg1"/>
                  </a:solidFill>
                </a:rPr>
                <a:t>عمل</a:t>
              </a:r>
              <a:r>
                <a:rPr lang="ar-AE" sz="1600" dirty="0" smtClean="0">
                  <a:solidFill>
                    <a:schemeClr val="bg1"/>
                  </a:solidFill>
                </a:rPr>
                <a:t> </a:t>
              </a:r>
              <a:r>
                <a:rPr lang="ar-AE" sz="1600" dirty="0" smtClean="0">
                  <a:solidFill>
                    <a:schemeClr val="bg1"/>
                  </a:solidFill>
                </a:rPr>
                <a:t>من حافز: </a:t>
              </a:r>
              <a:endParaRPr lang="en-US" sz="1600" dirty="0" smtClean="0">
                <a:solidFill>
                  <a:schemeClr val="bg1"/>
                </a:solidFill>
              </a:endParaRPr>
            </a:p>
            <a:p>
              <a:pPr marL="114280" algn="r" rtl="1">
                <a:spcBef>
                  <a:spcPct val="20000"/>
                </a:spcBef>
                <a:buFontTx/>
                <a:buChar char="-"/>
              </a:pPr>
              <a:r>
                <a:rPr lang="ar-AE" sz="1600" dirty="0" smtClean="0">
                  <a:solidFill>
                    <a:schemeClr val="bg1"/>
                  </a:solidFill>
                </a:rPr>
                <a:t>إعداد الباحثين عن وظيفة للعمل في القطاع الخاص </a:t>
              </a:r>
            </a:p>
            <a:p>
              <a:pPr marL="114280" algn="r" rtl="1">
                <a:spcBef>
                  <a:spcPct val="20000"/>
                </a:spcBef>
                <a:buFontTx/>
                <a:buChar char="-"/>
              </a:pPr>
              <a:r>
                <a:rPr lang="ar-AE" sz="1600" dirty="0" smtClean="0">
                  <a:solidFill>
                    <a:schemeClr val="bg1"/>
                  </a:solidFill>
                </a:rPr>
                <a:t> بيئة العمل في القطاع الخاص </a:t>
              </a:r>
            </a:p>
            <a:p>
              <a:pPr marL="114280" algn="r" rtl="1">
                <a:spcBef>
                  <a:spcPct val="20000"/>
                </a:spcBef>
                <a:buFontTx/>
                <a:buChar char="-"/>
              </a:pPr>
              <a:r>
                <a:rPr lang="ar-AE" sz="1600" dirty="0" smtClean="0">
                  <a:solidFill>
                    <a:schemeClr val="bg1"/>
                  </a:solidFill>
                </a:rPr>
                <a:t> مهارات البحث عن عمل </a:t>
              </a:r>
            </a:p>
            <a:p>
              <a:pPr marL="114280" algn="r" rtl="1">
                <a:spcBef>
                  <a:spcPct val="20000"/>
                </a:spcBef>
                <a:buFontTx/>
                <a:buChar char="-"/>
              </a:pPr>
              <a:r>
                <a:rPr lang="ar-AE" sz="1600" dirty="0" smtClean="0">
                  <a:solidFill>
                    <a:schemeClr val="bg1"/>
                  </a:solidFill>
                </a:rPr>
                <a:t> أخلاقيات وسلوكيات العمل</a:t>
              </a:r>
              <a:endParaRPr lang="en-US" sz="16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25" name="AutoShape 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5490716" y="3074554"/>
              <a:ext cx="2193518" cy="3389150"/>
            </a:xfrm>
            <a:prstGeom prst="flowChartAlternateProcess">
              <a:avLst/>
            </a:prstGeom>
            <a:solidFill>
              <a:schemeClr val="accent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wrap="none" lIns="99562" tIns="99562" rIns="99562" bIns="99562" anchor="ctr"/>
            <a:lstStyle/>
            <a:p>
              <a:pPr defTabSz="995451"/>
              <a:endParaRPr lang="en-US" sz="1700" dirty="0">
                <a:solidFill>
                  <a:srgbClr val="000000"/>
                </a:solidFill>
              </a:endParaRPr>
            </a:p>
          </p:txBody>
        </p:sp>
        <p:sp>
          <p:nvSpPr>
            <p:cNvPr id="26" name="Rectangle 2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5548784" y="3060551"/>
              <a:ext cx="2122649" cy="3259137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78396" tIns="99562" rIns="78396" bIns="99562"/>
            <a:lstStyle/>
            <a:p>
              <a:pPr marL="114280">
                <a:spcBef>
                  <a:spcPct val="20000"/>
                </a:spcBef>
              </a:pPr>
              <a:endParaRPr lang="en-US" sz="1600" dirty="0" smtClean="0">
                <a:solidFill>
                  <a:schemeClr val="bg1"/>
                </a:solidFill>
              </a:endParaRPr>
            </a:p>
            <a:p>
              <a:pPr marL="114280">
                <a:spcBef>
                  <a:spcPct val="20000"/>
                </a:spcBef>
              </a:pPr>
              <a:endParaRPr lang="en-US" sz="1600" dirty="0" smtClean="0">
                <a:solidFill>
                  <a:schemeClr val="bg1"/>
                </a:solidFill>
              </a:endParaRPr>
            </a:p>
            <a:p>
              <a:pPr marL="114280" algn="r" rtl="1">
                <a:spcBef>
                  <a:spcPct val="20000"/>
                </a:spcBef>
              </a:pPr>
              <a:r>
                <a:rPr lang="ar-AE" sz="1600" dirty="0" smtClean="0">
                  <a:solidFill>
                    <a:schemeClr val="bg1"/>
                  </a:solidFill>
                </a:rPr>
                <a:t>حالياً يتم إعداد الأنظمة والتطبيقات للمرحلة الأولى، التي تتضمن 46 </a:t>
              </a:r>
              <a:r>
                <a:rPr lang="ar-SA" sz="1600" dirty="0" smtClean="0">
                  <a:solidFill>
                    <a:schemeClr val="bg1"/>
                  </a:solidFill>
                </a:rPr>
                <a:t>حقيبة</a:t>
              </a:r>
              <a:r>
                <a:rPr lang="ar-AE" sz="1600" dirty="0" smtClean="0">
                  <a:solidFill>
                    <a:schemeClr val="bg1"/>
                  </a:solidFill>
                </a:rPr>
                <a:t> تدريب إلكترونية في مجالات مختلفة لكل الباحثين عن عمل المسجلين في </a:t>
              </a:r>
              <a:r>
                <a:rPr lang="ar-SA" sz="1600" dirty="0" smtClean="0">
                  <a:solidFill>
                    <a:schemeClr val="bg1"/>
                  </a:solidFill>
                </a:rPr>
                <a:t>برنامج حافز</a:t>
              </a:r>
              <a:r>
                <a:rPr lang="ar-AE" sz="1600" dirty="0" smtClean="0">
                  <a:solidFill>
                    <a:schemeClr val="bg1"/>
                  </a:solidFill>
                </a:rPr>
                <a:t> </a:t>
              </a:r>
              <a:endParaRPr lang="en-US" sz="16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27" name="AutoShape 2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8049726" y="3074554"/>
              <a:ext cx="2193518" cy="3389150"/>
            </a:xfrm>
            <a:prstGeom prst="flowChartAlternateProcess">
              <a:avLst/>
            </a:prstGeom>
            <a:solidFill>
              <a:schemeClr val="accent1"/>
            </a:solidFill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wrap="none" lIns="99562" tIns="99562" rIns="99562" bIns="99562" anchor="ctr"/>
            <a:lstStyle/>
            <a:p>
              <a:pPr defTabSz="995451"/>
              <a:endParaRPr lang="en-US" sz="1700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 27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8107794" y="3060551"/>
              <a:ext cx="2122649" cy="3259137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78396" tIns="99562" rIns="78396" bIns="99562"/>
            <a:lstStyle/>
            <a:p>
              <a:pPr marL="114280">
                <a:spcBef>
                  <a:spcPct val="20000"/>
                </a:spcBef>
              </a:pPr>
              <a:endParaRPr lang="en-US" sz="1600" dirty="0" smtClean="0">
                <a:solidFill>
                  <a:schemeClr val="bg1"/>
                </a:solidFill>
              </a:endParaRPr>
            </a:p>
            <a:p>
              <a:pPr marL="114280" algn="r" rtl="1">
                <a:spcBef>
                  <a:spcPct val="20000"/>
                </a:spcBef>
              </a:pPr>
              <a:endParaRPr lang="ar-AE" sz="1600" dirty="0" smtClean="0">
                <a:solidFill>
                  <a:schemeClr val="bg1"/>
                </a:solidFill>
              </a:endParaRPr>
            </a:p>
            <a:p>
              <a:pPr marL="114280" algn="r" rtl="1">
                <a:spcBef>
                  <a:spcPct val="20000"/>
                </a:spcBef>
              </a:pPr>
              <a:r>
                <a:rPr lang="ar-AE" sz="1600" dirty="0" smtClean="0">
                  <a:solidFill>
                    <a:schemeClr val="bg1"/>
                  </a:solidFill>
                </a:rPr>
                <a:t>يتم </a:t>
              </a:r>
              <a:r>
                <a:rPr lang="ar-AE" sz="1600" dirty="0" smtClean="0">
                  <a:solidFill>
                    <a:schemeClr val="bg1"/>
                  </a:solidFill>
                </a:rPr>
                <a:t>تحديد متطلبات المرحلة الثانية التي تتضمن دورات تدريبية متخصصة</a:t>
              </a:r>
              <a:endParaRPr lang="en-US" sz="1600" dirty="0" smtClean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2220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690517" y="108225"/>
            <a:ext cx="6840760" cy="1080119"/>
          </a:xfrm>
          <a:prstGeom prst="rect">
            <a:avLst/>
          </a:prstGeom>
        </p:spPr>
        <p:txBody>
          <a:bodyPr vert="horz" lIns="104287" tIns="52144" rIns="104287" bIns="52144" rtlCol="0" anchor="ctr">
            <a:noAutofit/>
          </a:bodyPr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ar-AE" sz="3200" dirty="0" smtClean="0">
                <a:solidFill>
                  <a:prstClr val="white"/>
                </a:solidFill>
              </a:rPr>
              <a:t>استراتيجية الصندوق طويلة الأمد تتضمن إنشاء بوابة </a:t>
            </a:r>
            <a:r>
              <a:rPr lang="ar-AE" sz="3200" dirty="0" smtClean="0">
                <a:solidFill>
                  <a:prstClr val="white"/>
                </a:solidFill>
              </a:rPr>
              <a:t>ال</a:t>
            </a:r>
            <a:r>
              <a:rPr lang="ar-SA" sz="3200" dirty="0" smtClean="0">
                <a:solidFill>
                  <a:prstClr val="white"/>
                </a:solidFill>
              </a:rPr>
              <a:t>تدريب</a:t>
            </a:r>
            <a:r>
              <a:rPr lang="ar-AE" sz="3200" dirty="0" smtClean="0">
                <a:solidFill>
                  <a:prstClr val="white"/>
                </a:solidFill>
              </a:rPr>
              <a:t> الإلكتروني </a:t>
            </a:r>
            <a:r>
              <a:rPr lang="ar-AE" sz="3200" dirty="0" smtClean="0">
                <a:solidFill>
                  <a:prstClr val="white"/>
                </a:solidFill>
              </a:rPr>
              <a:t>للصندوق </a:t>
            </a:r>
            <a:endParaRPr lang="en-GB" sz="3200" dirty="0" smtClean="0">
              <a:solidFill>
                <a:prstClr val="white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62126" y="1404368"/>
            <a:ext cx="10297143" cy="707870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pPr algn="r" rtl="1"/>
            <a:r>
              <a:rPr lang="ar-AE" sz="2000" b="1" dirty="0" smtClean="0"/>
              <a:t>تقضي رؤية </a:t>
            </a:r>
            <a:r>
              <a:rPr lang="ar-AE" sz="2000" b="1" dirty="0" smtClean="0"/>
              <a:t>ال</a:t>
            </a:r>
            <a:r>
              <a:rPr lang="ar-SA" sz="2000" b="1" dirty="0" smtClean="0"/>
              <a:t>بوابة</a:t>
            </a:r>
            <a:r>
              <a:rPr lang="ar-AE" sz="2000" b="1" dirty="0" smtClean="0"/>
              <a:t> </a:t>
            </a:r>
            <a:r>
              <a:rPr lang="ar-AE" sz="2000" b="1" dirty="0" smtClean="0"/>
              <a:t>الإلكترونية للصندوق بإنشاء سوق افتراضية لموردي التعلّم الإلكتروني لتوفير برامج على الشبكة م</a:t>
            </a:r>
            <a:r>
              <a:rPr lang="ar-SA" sz="2000" b="1" dirty="0" err="1" smtClean="0"/>
              <a:t>صممة</a:t>
            </a:r>
            <a:r>
              <a:rPr lang="ar-AE" sz="2000" b="1" dirty="0" smtClean="0"/>
              <a:t> للاستجابة إلى فرص العمل في الاقتصاد السعودي و</a:t>
            </a:r>
            <a:r>
              <a:rPr lang="ar-SA" sz="2000" b="1" dirty="0" smtClean="0"/>
              <a:t>وتزويد طالب العمل بالمهارات التي ترفع من </a:t>
            </a:r>
            <a:r>
              <a:rPr lang="ar-SA" sz="2000" b="1" dirty="0"/>
              <a:t>ج</a:t>
            </a:r>
            <a:r>
              <a:rPr lang="ar-SA" sz="2000" b="1" dirty="0" smtClean="0"/>
              <a:t>اهزيته </a:t>
            </a:r>
            <a:r>
              <a:rPr lang="ar-AE" sz="2000" b="1" dirty="0" smtClean="0"/>
              <a:t>للعمل </a:t>
            </a:r>
            <a:endParaRPr lang="en-US" sz="2000" b="1" dirty="0" smtClean="0"/>
          </a:p>
        </p:txBody>
      </p:sp>
      <p:sp>
        <p:nvSpPr>
          <p:cNvPr id="35" name="Isosceles Triangle 34"/>
          <p:cNvSpPr/>
          <p:nvPr/>
        </p:nvSpPr>
        <p:spPr>
          <a:xfrm rot="16200000" flipH="1">
            <a:off x="593418" y="4355940"/>
            <a:ext cx="3817935" cy="36004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endParaRPr lang="en-GB"/>
          </a:p>
        </p:txBody>
      </p:sp>
      <p:sp>
        <p:nvSpPr>
          <p:cNvPr id="36" name="Rectangle 35"/>
          <p:cNvSpPr/>
          <p:nvPr/>
        </p:nvSpPr>
        <p:spPr>
          <a:xfrm flipH="1">
            <a:off x="450156" y="2988543"/>
            <a:ext cx="1728192" cy="6480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rtl="1"/>
            <a:r>
              <a:rPr lang="ar-AE" sz="1400" dirty="0" smtClean="0"/>
              <a:t>بوابة التطوير المهني للصندوق</a:t>
            </a:r>
            <a:endParaRPr lang="en-GB" sz="1400" dirty="0"/>
          </a:p>
        </p:txBody>
      </p:sp>
      <p:sp>
        <p:nvSpPr>
          <p:cNvPr id="42" name="Rectangle 41"/>
          <p:cNvSpPr/>
          <p:nvPr/>
        </p:nvSpPr>
        <p:spPr>
          <a:xfrm flipH="1">
            <a:off x="450156" y="3708624"/>
            <a:ext cx="1728192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r>
              <a:rPr lang="ar-AE" sz="1400" dirty="0" smtClean="0"/>
              <a:t>نظام إدارة القصائم</a:t>
            </a:r>
            <a:endParaRPr lang="en-GB" sz="1400" dirty="0"/>
          </a:p>
        </p:txBody>
      </p:sp>
      <p:sp>
        <p:nvSpPr>
          <p:cNvPr id="44" name="Rectangle 43"/>
          <p:cNvSpPr/>
          <p:nvPr/>
        </p:nvSpPr>
        <p:spPr>
          <a:xfrm flipH="1">
            <a:off x="450156" y="4356695"/>
            <a:ext cx="1728192" cy="5040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rtl="1"/>
            <a:r>
              <a:rPr lang="ar-AE" sz="1400" dirty="0" smtClean="0"/>
              <a:t>بوابة </a:t>
            </a:r>
            <a:r>
              <a:rPr lang="en-US" sz="1400" dirty="0" smtClean="0"/>
              <a:t>E-</a:t>
            </a:r>
            <a:r>
              <a:rPr lang="en-US" sz="1400" dirty="0" err="1" smtClean="0"/>
              <a:t>Taqat</a:t>
            </a:r>
            <a:endParaRPr lang="en-GB" sz="1400" dirty="0" smtClean="0"/>
          </a:p>
          <a:p>
            <a:pPr algn="ctr" rtl="1"/>
            <a:r>
              <a:rPr lang="ar-AE" sz="1400" dirty="0" smtClean="0"/>
              <a:t>للبحث عن وظيفة</a:t>
            </a:r>
            <a:endParaRPr lang="en-GB" sz="1400" dirty="0"/>
          </a:p>
        </p:txBody>
      </p:sp>
      <p:sp>
        <p:nvSpPr>
          <p:cNvPr id="47" name="Rectangle 46"/>
          <p:cNvSpPr/>
          <p:nvPr/>
        </p:nvSpPr>
        <p:spPr>
          <a:xfrm flipH="1">
            <a:off x="450156" y="4932758"/>
            <a:ext cx="1728192" cy="6480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rtl="1"/>
            <a:r>
              <a:rPr lang="ar-AE" sz="1400" dirty="0" smtClean="0"/>
              <a:t>مبادرة فرصة ثانية للتعليم في وزارة العمل </a:t>
            </a:r>
            <a:endParaRPr lang="en-GB" sz="1400" dirty="0"/>
          </a:p>
        </p:txBody>
      </p:sp>
      <p:sp>
        <p:nvSpPr>
          <p:cNvPr id="49" name="Rectangle 48"/>
          <p:cNvSpPr/>
          <p:nvPr/>
        </p:nvSpPr>
        <p:spPr>
          <a:xfrm flipH="1">
            <a:off x="450156" y="5652839"/>
            <a:ext cx="1728192" cy="7200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/>
            <a:r>
              <a:rPr lang="ar-AE" sz="1400" dirty="0" smtClean="0"/>
              <a:t>يمكن أن تحيل المدارس ومراكز التوظيف الطلاب إلى هذه البوابة</a:t>
            </a:r>
            <a:endParaRPr lang="en-GB" sz="1400" dirty="0"/>
          </a:p>
        </p:txBody>
      </p:sp>
      <p:sp>
        <p:nvSpPr>
          <p:cNvPr id="51" name="TextBox 50"/>
          <p:cNvSpPr txBox="1"/>
          <p:nvPr/>
        </p:nvSpPr>
        <p:spPr>
          <a:xfrm flipH="1">
            <a:off x="8083004" y="2797194"/>
            <a:ext cx="2538388" cy="3185471"/>
          </a:xfrm>
          <a:prstGeom prst="rect">
            <a:avLst/>
          </a:prstGeom>
          <a:solidFill>
            <a:schemeClr val="bg1"/>
          </a:solidFill>
        </p:spPr>
        <p:txBody>
          <a:bodyPr wrap="square" lIns="91424" tIns="45712" rIns="91424" bIns="45712" rtlCol="0">
            <a:spAutoFit/>
          </a:bodyPr>
          <a:lstStyle/>
          <a:p>
            <a:pPr marL="122217" indent="-122217">
              <a:spcAft>
                <a:spcPts val="600"/>
              </a:spcAft>
              <a:buFont typeface="Arial" pitchFamily="34" charset="0"/>
              <a:buChar char="•"/>
            </a:pPr>
            <a:endParaRPr lang="en-US" sz="1600" dirty="0" smtClean="0">
              <a:solidFill>
                <a:prstClr val="black"/>
              </a:solidFill>
            </a:endParaRPr>
          </a:p>
          <a:p>
            <a:pPr marL="122217" indent="-122217" algn="r" rtl="1">
              <a:spcAft>
                <a:spcPts val="600"/>
              </a:spcAft>
              <a:buFont typeface="Arial" pitchFamily="34" charset="0"/>
              <a:buChar char="•"/>
            </a:pPr>
            <a:r>
              <a:rPr lang="ar-AE" sz="1600" dirty="0" smtClean="0">
                <a:solidFill>
                  <a:prstClr val="black"/>
                </a:solidFill>
              </a:rPr>
              <a:t>يختار الطلاب ال</a:t>
            </a:r>
            <a:r>
              <a:rPr lang="ar-SA" sz="1600" dirty="0" smtClean="0">
                <a:solidFill>
                  <a:prstClr val="black"/>
                </a:solidFill>
              </a:rPr>
              <a:t>براج التدريبية</a:t>
            </a:r>
            <a:r>
              <a:rPr lang="ar-AE" sz="1600" dirty="0" smtClean="0">
                <a:solidFill>
                  <a:prstClr val="black"/>
                </a:solidFill>
              </a:rPr>
              <a:t> </a:t>
            </a:r>
            <a:r>
              <a:rPr lang="ar-SA" sz="1600" dirty="0" smtClean="0">
                <a:solidFill>
                  <a:prstClr val="black"/>
                </a:solidFill>
              </a:rPr>
              <a:t>من خلال</a:t>
            </a:r>
            <a:r>
              <a:rPr lang="ar-AE" sz="1600" dirty="0" smtClean="0">
                <a:solidFill>
                  <a:prstClr val="black"/>
                </a:solidFill>
              </a:rPr>
              <a:t> ق</a:t>
            </a:r>
            <a:r>
              <a:rPr lang="ar-SA" sz="1600" dirty="0" smtClean="0">
                <a:solidFill>
                  <a:prstClr val="black"/>
                </a:solidFill>
              </a:rPr>
              <a:t>س</a:t>
            </a:r>
            <a:r>
              <a:rPr lang="ar-AE" sz="1600" dirty="0" smtClean="0">
                <a:solidFill>
                  <a:prstClr val="black"/>
                </a:solidFill>
              </a:rPr>
              <a:t>ائم </a:t>
            </a:r>
            <a:r>
              <a:rPr lang="ar-SA" sz="1600" dirty="0" smtClean="0">
                <a:solidFill>
                  <a:prstClr val="black"/>
                </a:solidFill>
              </a:rPr>
              <a:t>للتدريب </a:t>
            </a:r>
            <a:endParaRPr lang="ar-SA" sz="1600" dirty="0" smtClean="0">
              <a:solidFill>
                <a:prstClr val="black"/>
              </a:solidFill>
            </a:endParaRPr>
          </a:p>
          <a:p>
            <a:pPr marL="122217" indent="-122217" algn="r" rtl="1">
              <a:spcAft>
                <a:spcPts val="600"/>
              </a:spcAft>
              <a:buFont typeface="Arial" pitchFamily="34" charset="0"/>
              <a:buChar char="•"/>
            </a:pPr>
            <a:r>
              <a:rPr lang="ar-AE" sz="1600" dirty="0" err="1" smtClean="0">
                <a:solidFill>
                  <a:prstClr val="black"/>
                </a:solidFill>
              </a:rPr>
              <a:t>يق</a:t>
            </a:r>
            <a:r>
              <a:rPr lang="ar-SA" sz="1600" dirty="0" smtClean="0">
                <a:solidFill>
                  <a:prstClr val="black"/>
                </a:solidFill>
              </a:rPr>
              <a:t>يم</a:t>
            </a:r>
            <a:r>
              <a:rPr lang="ar-AE" sz="1600" dirty="0" smtClean="0">
                <a:solidFill>
                  <a:prstClr val="black"/>
                </a:solidFill>
              </a:rPr>
              <a:t> المستخدمون </a:t>
            </a:r>
            <a:r>
              <a:rPr lang="ar-SA" sz="1600" dirty="0" smtClean="0">
                <a:solidFill>
                  <a:prstClr val="black"/>
                </a:solidFill>
              </a:rPr>
              <a:t>البرامج التدريبية</a:t>
            </a:r>
            <a:r>
              <a:rPr lang="ar-AE" sz="1600" dirty="0" smtClean="0">
                <a:solidFill>
                  <a:prstClr val="black"/>
                </a:solidFill>
              </a:rPr>
              <a:t>  </a:t>
            </a:r>
          </a:p>
          <a:p>
            <a:pPr marL="122217" indent="-122217" algn="r" rtl="1">
              <a:spcAft>
                <a:spcPts val="600"/>
              </a:spcAft>
              <a:buFont typeface="Arial" pitchFamily="34" charset="0"/>
              <a:buChar char="•"/>
            </a:pPr>
            <a:r>
              <a:rPr lang="ar-AE" sz="1600" dirty="0" smtClean="0">
                <a:solidFill>
                  <a:prstClr val="black"/>
                </a:solidFill>
              </a:rPr>
              <a:t>يشجع الصندوق على تطوير المقررات من خلال تقد</a:t>
            </a:r>
            <a:r>
              <a:rPr lang="ar-SA" sz="1600" dirty="0" smtClean="0">
                <a:solidFill>
                  <a:prstClr val="black"/>
                </a:solidFill>
              </a:rPr>
              <a:t>ي</a:t>
            </a:r>
            <a:r>
              <a:rPr lang="ar-AE" sz="1600" dirty="0" smtClean="0">
                <a:solidFill>
                  <a:prstClr val="black"/>
                </a:solidFill>
              </a:rPr>
              <a:t>م الدعم المالي </a:t>
            </a:r>
          </a:p>
          <a:p>
            <a:pPr marL="122217" indent="-122217" algn="r" rtl="1">
              <a:spcAft>
                <a:spcPts val="600"/>
              </a:spcAft>
              <a:buFont typeface="Arial" pitchFamily="34" charset="0"/>
              <a:buChar char="•"/>
            </a:pPr>
            <a:r>
              <a:rPr lang="ar-AE" sz="1600" dirty="0" smtClean="0">
                <a:solidFill>
                  <a:prstClr val="black"/>
                </a:solidFill>
              </a:rPr>
              <a:t>منبر موحد لإدارة ا</a:t>
            </a:r>
            <a:r>
              <a:rPr lang="ar-SA" sz="1600" dirty="0" smtClean="0">
                <a:solidFill>
                  <a:prstClr val="black"/>
                </a:solidFill>
              </a:rPr>
              <a:t>إ</a:t>
            </a:r>
            <a:r>
              <a:rPr lang="ar-AE" sz="1600" dirty="0" smtClean="0">
                <a:solidFill>
                  <a:prstClr val="black"/>
                </a:solidFill>
              </a:rPr>
              <a:t>ن</a:t>
            </a:r>
            <a:r>
              <a:rPr lang="ar-SA" sz="1600" dirty="0">
                <a:solidFill>
                  <a:prstClr val="black"/>
                </a:solidFill>
              </a:rPr>
              <a:t>ض</a:t>
            </a:r>
            <a:r>
              <a:rPr lang="ar-SA" sz="1600" dirty="0" smtClean="0">
                <a:solidFill>
                  <a:prstClr val="black"/>
                </a:solidFill>
              </a:rPr>
              <a:t>مام</a:t>
            </a:r>
            <a:r>
              <a:rPr lang="ar-AE" sz="1600" dirty="0" smtClean="0">
                <a:solidFill>
                  <a:prstClr val="black"/>
                </a:solidFill>
              </a:rPr>
              <a:t> ا</a:t>
            </a:r>
            <a:r>
              <a:rPr lang="ar-SA" sz="1600" dirty="0" smtClean="0">
                <a:solidFill>
                  <a:prstClr val="black"/>
                </a:solidFill>
              </a:rPr>
              <a:t>لمتدربين</a:t>
            </a:r>
            <a:r>
              <a:rPr lang="ar-AE" sz="1600" dirty="0" smtClean="0">
                <a:solidFill>
                  <a:prstClr val="black"/>
                </a:solidFill>
              </a:rPr>
              <a:t> وجميع الخدمات الأخرى</a:t>
            </a:r>
          </a:p>
          <a:p>
            <a:pPr marL="122217" indent="-122217" algn="r" rtl="1">
              <a:spcAft>
                <a:spcPts val="600"/>
              </a:spcAft>
              <a:buFont typeface="Arial" pitchFamily="34" charset="0"/>
              <a:buChar char="•"/>
            </a:pPr>
            <a:r>
              <a:rPr lang="ar-AE" sz="1600" dirty="0" smtClean="0">
                <a:solidFill>
                  <a:prstClr val="black"/>
                </a:solidFill>
              </a:rPr>
              <a:t>ترتكز كل ال</a:t>
            </a:r>
            <a:r>
              <a:rPr lang="ar-SA" sz="1600" dirty="0" smtClean="0">
                <a:solidFill>
                  <a:prstClr val="black"/>
                </a:solidFill>
              </a:rPr>
              <a:t>برامج التدريبية</a:t>
            </a:r>
            <a:r>
              <a:rPr lang="ar-AE" sz="1600" dirty="0" smtClean="0">
                <a:solidFill>
                  <a:prstClr val="black"/>
                </a:solidFill>
              </a:rPr>
              <a:t> على معايير</a:t>
            </a:r>
            <a:r>
              <a:rPr lang="ar-SA" sz="1600" dirty="0" smtClean="0">
                <a:solidFill>
                  <a:prstClr val="black"/>
                </a:solidFill>
              </a:rPr>
              <a:t>موحدة</a:t>
            </a:r>
            <a:r>
              <a:rPr lang="ar-AE" sz="1600" dirty="0" smtClean="0">
                <a:solidFill>
                  <a:prstClr val="black"/>
                </a:solidFill>
              </a:rPr>
              <a:t> وشهادات </a:t>
            </a:r>
            <a:r>
              <a:rPr lang="ar-SA" sz="1600" dirty="0" smtClean="0">
                <a:solidFill>
                  <a:prstClr val="black"/>
                </a:solidFill>
              </a:rPr>
              <a:t>معتمدة</a:t>
            </a:r>
            <a:endParaRPr lang="en-US" sz="1600" dirty="0" smtClean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flipH="1">
            <a:off x="7938989" y="2262941"/>
            <a:ext cx="2682403" cy="400093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pPr algn="r" rtl="1"/>
            <a:r>
              <a:rPr lang="ar-AE" sz="2000" b="1" dirty="0" smtClean="0">
                <a:solidFill>
                  <a:srgbClr val="FFC000"/>
                </a:solidFill>
              </a:rPr>
              <a:t>خصائص </a:t>
            </a:r>
            <a:r>
              <a:rPr lang="ar-AE" sz="2000" b="1" dirty="0" smtClean="0">
                <a:solidFill>
                  <a:srgbClr val="FFC000"/>
                </a:solidFill>
              </a:rPr>
              <a:t>ال</a:t>
            </a:r>
            <a:r>
              <a:rPr lang="ar-SA" sz="2000" b="1" dirty="0" smtClean="0">
                <a:solidFill>
                  <a:srgbClr val="FFC000"/>
                </a:solidFill>
              </a:rPr>
              <a:t>بواب</a:t>
            </a:r>
            <a:r>
              <a:rPr lang="ar-AE" sz="2000" b="1" dirty="0" smtClean="0">
                <a:solidFill>
                  <a:srgbClr val="FFC000"/>
                </a:solidFill>
              </a:rPr>
              <a:t>ة </a:t>
            </a:r>
            <a:r>
              <a:rPr lang="ar-AE" sz="2000" b="1" dirty="0" smtClean="0">
                <a:solidFill>
                  <a:srgbClr val="FFC000"/>
                </a:solidFill>
              </a:rPr>
              <a:t>الإلكترونية:</a:t>
            </a:r>
            <a:endParaRPr lang="en-GB" sz="2000" b="1" dirty="0">
              <a:solidFill>
                <a:srgbClr val="FFC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 flipH="1">
            <a:off x="2" y="2043729"/>
            <a:ext cx="2682403" cy="584775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pPr algn="r" rtl="1"/>
            <a:r>
              <a:rPr lang="ar-AE" sz="1600" b="1" dirty="0" smtClean="0"/>
              <a:t>تربط الجامعة الإلكترونية مبادرات الصندوق التالية: </a:t>
            </a:r>
            <a:endParaRPr lang="en-US" sz="1600" b="1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54412" y="3077233"/>
            <a:ext cx="5400600" cy="3013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652220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322364" y="2844527"/>
            <a:ext cx="4176465" cy="1473428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 fontScale="97500"/>
          </a:bodyPr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ar-SA" sz="5400" dirty="0" smtClean="0">
                <a:solidFill>
                  <a:srgbClr val="FFC000"/>
                </a:solidFill>
              </a:rPr>
              <a:t>شكراً لكم</a:t>
            </a:r>
            <a:endParaRPr lang="en-GB" sz="5400" dirty="0" smtClean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439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178348" y="2988543"/>
            <a:ext cx="6624736" cy="2265516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 fontScale="45000" lnSpcReduction="20000"/>
          </a:bodyPr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r>
              <a:rPr lang="ar-AE" sz="8900" dirty="0">
                <a:solidFill>
                  <a:schemeClr val="bg1"/>
                </a:solidFill>
              </a:rPr>
              <a:t>”شهادات معتمدة وسريعة على الشبكة في متناولك“</a:t>
            </a:r>
            <a:r>
              <a:rPr lang="en-US" sz="8900" dirty="0">
                <a:solidFill>
                  <a:schemeClr val="bg1"/>
                </a:solidFill>
              </a:rPr>
              <a:t/>
            </a:r>
            <a:br>
              <a:rPr lang="en-US" sz="8900" dirty="0">
                <a:solidFill>
                  <a:schemeClr val="bg1"/>
                </a:solidFill>
              </a:rPr>
            </a:br>
            <a:endParaRPr lang="ar-SA" sz="8900" dirty="0" smtClean="0">
              <a:solidFill>
                <a:schemeClr val="bg1"/>
              </a:solidFill>
            </a:endParaRPr>
          </a:p>
          <a:p>
            <a:pPr rtl="1"/>
            <a:r>
              <a:rPr lang="ar-AE" sz="4100" dirty="0" smtClean="0">
                <a:solidFill>
                  <a:srgbClr val="FFC000"/>
                </a:solidFill>
              </a:rPr>
              <a:t>جامعة  </a:t>
            </a:r>
            <a:r>
              <a:rPr lang="ar-AE" sz="4100" dirty="0">
                <a:solidFill>
                  <a:srgbClr val="FFC000"/>
                </a:solidFill>
              </a:rPr>
              <a:t>وسترن </a:t>
            </a:r>
            <a:r>
              <a:rPr lang="ar-AE" sz="4100" dirty="0" err="1">
                <a:solidFill>
                  <a:srgbClr val="FFC000"/>
                </a:solidFill>
              </a:rPr>
              <a:t>جوفرنورز</a:t>
            </a:r>
            <a:r>
              <a:rPr lang="en-US" dirty="0">
                <a:solidFill>
                  <a:schemeClr val="bg1"/>
                </a:solidFill>
              </a:rPr>
              <a:t/>
            </a:r>
            <a:br>
              <a:rPr lang="en-US" dirty="0">
                <a:solidFill>
                  <a:schemeClr val="bg1"/>
                </a:solidFill>
              </a:rPr>
            </a:br>
            <a:endParaRPr lang="en-GB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4665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898428" y="3204567"/>
            <a:ext cx="5256584" cy="1473428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 fontScale="90000" lnSpcReduction="10000"/>
          </a:bodyPr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r>
              <a:rPr lang="ar-AE" dirty="0" smtClean="0">
                <a:solidFill>
                  <a:schemeClr val="bg1"/>
                </a:solidFill>
              </a:rPr>
              <a:t>التعلّم الإلكتروني</a:t>
            </a:r>
          </a:p>
          <a:p>
            <a:pPr rtl="1"/>
            <a:r>
              <a:rPr lang="ar-AE" dirty="0" smtClean="0">
                <a:solidFill>
                  <a:schemeClr val="bg1"/>
                </a:solidFill>
              </a:rPr>
              <a:t> في السياق العالمي</a:t>
            </a:r>
            <a:endParaRPr lang="en-GB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439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690517" y="108225"/>
            <a:ext cx="6840760" cy="1080119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 fontScale="75000" lnSpcReduction="20000"/>
          </a:bodyPr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ar-AE" dirty="0" smtClean="0">
                <a:solidFill>
                  <a:prstClr val="white"/>
                </a:solidFill>
              </a:rPr>
              <a:t>أهمية التعلّم الإلكتروني في السياق العالمي</a:t>
            </a:r>
            <a:endParaRPr lang="en-GB" dirty="0" smtClean="0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sz="quarter" idx="4294967295"/>
            <p:custDataLst>
              <p:tags r:id="rId1"/>
            </p:custDataLst>
          </p:nvPr>
        </p:nvSpPr>
        <p:spPr>
          <a:xfrm>
            <a:off x="306141" y="1408474"/>
            <a:ext cx="10081120" cy="1010125"/>
          </a:xfrm>
          <a:prstGeom prst="rect">
            <a:avLst/>
          </a:prstGeom>
        </p:spPr>
        <p:txBody>
          <a:bodyPr lIns="91402" tIns="45702" rIns="91402" bIns="45702">
            <a:normAutofit/>
          </a:bodyPr>
          <a:lstStyle/>
          <a:p>
            <a:pPr marL="0" indent="0" algn="r" rtl="1">
              <a:buNone/>
            </a:pPr>
            <a:r>
              <a:rPr lang="ar-AE" altLang="ja-JP" sz="2000" dirty="0" smtClean="0">
                <a:latin typeface="+mj-lt"/>
                <a:ea typeface="ＭＳ Ｐゴシック" pitchFamily="34" charset="-128"/>
              </a:rPr>
              <a:t>لقد بدّل التعلّم الإلكتروني مشهد التدريب بشكل جذري على مدى العقد الماضي، مع تحول التعلّم الإلكتروني والتقنيات المتحركة من كونها مستجدات يعتمدها بعض الرواد إلى </a:t>
            </a:r>
            <a:r>
              <a:rPr lang="ar-SA" altLang="ja-JP" sz="2000" dirty="0" smtClean="0">
                <a:latin typeface="+mj-lt"/>
                <a:ea typeface="ＭＳ Ｐゴシック" pitchFamily="34" charset="-128"/>
              </a:rPr>
              <a:t>اساسيات</a:t>
            </a:r>
            <a:r>
              <a:rPr lang="ar-AE" altLang="ja-JP" sz="2000" dirty="0" smtClean="0">
                <a:latin typeface="+mj-lt"/>
                <a:ea typeface="ＭＳ Ｐゴシック" pitchFamily="34" charset="-128"/>
              </a:rPr>
              <a:t> </a:t>
            </a:r>
            <a:r>
              <a:rPr lang="ar-SA" altLang="ja-JP" sz="2000" dirty="0" smtClean="0">
                <a:latin typeface="+mj-lt"/>
                <a:ea typeface="ＭＳ Ｐゴシック" pitchFamily="34" charset="-128"/>
              </a:rPr>
              <a:t>عامة</a:t>
            </a:r>
            <a:r>
              <a:rPr lang="ar-AE" altLang="ja-JP" sz="2000" dirty="0" smtClean="0">
                <a:latin typeface="+mj-lt"/>
                <a:ea typeface="ＭＳ Ｐゴシック" pitchFamily="34" charset="-128"/>
              </a:rPr>
              <a:t>.</a:t>
            </a:r>
            <a:endParaRPr lang="en-US" sz="2000" dirty="0" smtClean="0">
              <a:latin typeface="+mj-lt"/>
              <a:ea typeface="ＭＳ Ｐゴシック" pitchFamily="34" charset="-128"/>
            </a:endParaRPr>
          </a:p>
          <a:p>
            <a:pPr marL="0" indent="0"/>
            <a:endParaRPr lang="en-US" sz="1800" dirty="0" smtClean="0">
              <a:latin typeface="+mj-lt"/>
            </a:endParaRPr>
          </a:p>
          <a:p>
            <a:pPr marL="0" indent="0"/>
            <a:endParaRPr lang="en-US" sz="1800" dirty="0" smtClean="0">
              <a:latin typeface="+mj-lt"/>
            </a:endParaRPr>
          </a:p>
          <a:p>
            <a:pPr marL="0" indent="0"/>
            <a:endParaRPr lang="en-US" sz="1800" dirty="0" smtClean="0">
              <a:latin typeface="+mj-lt"/>
            </a:endParaRPr>
          </a:p>
          <a:p>
            <a:pPr marL="0" indent="0"/>
            <a:endParaRPr lang="en-US" sz="1800" dirty="0" smtClean="0">
              <a:latin typeface="+mj-lt"/>
            </a:endParaRPr>
          </a:p>
        </p:txBody>
      </p:sp>
      <p:grpSp>
        <p:nvGrpSpPr>
          <p:cNvPr id="21" name="Group 20"/>
          <p:cNvGrpSpPr/>
          <p:nvPr/>
        </p:nvGrpSpPr>
        <p:grpSpPr>
          <a:xfrm flipH="1">
            <a:off x="674068" y="2188159"/>
            <a:ext cx="9339403" cy="4536954"/>
            <a:chOff x="757729" y="2188159"/>
            <a:chExt cx="9339403" cy="4536954"/>
          </a:xfrm>
        </p:grpSpPr>
        <p:sp>
          <p:nvSpPr>
            <p:cNvPr id="7" name="Rectangle 6"/>
            <p:cNvSpPr>
              <a:spLocks noChangeAspect="1"/>
            </p:cNvSpPr>
            <p:nvPr/>
          </p:nvSpPr>
          <p:spPr bwMode="ltGray">
            <a:xfrm>
              <a:off x="2430305" y="4361921"/>
              <a:ext cx="3564467" cy="218436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1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70" tIns="0" rIns="101870" bIns="50935" rtlCol="0" anchor="t" anchorCtr="0"/>
            <a:lstStyle/>
            <a:p>
              <a:pPr algn="ctr" defTabSz="1018644"/>
              <a:endParaRPr lang="en-US" sz="11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0" name="Rectangle 9"/>
            <p:cNvSpPr>
              <a:spLocks noChangeAspect="1"/>
            </p:cNvSpPr>
            <p:nvPr/>
          </p:nvSpPr>
          <p:spPr bwMode="ltGray">
            <a:xfrm>
              <a:off x="3860124" y="2188159"/>
              <a:ext cx="3118908" cy="2210854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1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70" tIns="0" rIns="101870" bIns="50935" rtlCol="0" anchor="t" anchorCtr="0"/>
            <a:lstStyle/>
            <a:p>
              <a:pPr algn="ctr" defTabSz="1018644"/>
              <a:endParaRPr lang="en-US" sz="11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>
              <a:spLocks noChangeAspect="1"/>
            </p:cNvSpPr>
            <p:nvPr/>
          </p:nvSpPr>
          <p:spPr bwMode="ltGray">
            <a:xfrm>
              <a:off x="807779" y="2304618"/>
              <a:ext cx="3386243" cy="233559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001">
              <a:schemeClr val="dk2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1870" tIns="0" rIns="101870" bIns="50935" rtlCol="0" anchor="t" anchorCtr="0"/>
            <a:lstStyle/>
            <a:p>
              <a:pPr algn="ctr" defTabSz="1018644"/>
              <a:endParaRPr lang="en-US" sz="11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2" name="Content Placeholder 2"/>
            <p:cNvSpPr txBox="1">
              <a:spLocks noChangeAspect="1"/>
            </p:cNvSpPr>
            <p:nvPr/>
          </p:nvSpPr>
          <p:spPr>
            <a:xfrm>
              <a:off x="957399" y="2516166"/>
              <a:ext cx="2849699" cy="824571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algn="ctr" defTabSz="1018644" eaLnBrk="0" hangingPunct="0">
                <a:spcBef>
                  <a:spcPts val="111"/>
                </a:spcBef>
                <a:spcAft>
                  <a:spcPts val="334"/>
                </a:spcAft>
              </a:pPr>
              <a:r>
                <a:rPr lang="ar-AE" sz="3500" b="1" i="1" dirty="0" smtClean="0">
                  <a:solidFill>
                    <a:srgbClr val="FFC000"/>
                  </a:solidFill>
                  <a:ea typeface="Arial Unicode MS" pitchFamily="34" charset="-128"/>
                  <a:cs typeface="Arial Unicode MS" pitchFamily="34" charset="-128"/>
                </a:rPr>
                <a:t>107</a:t>
              </a:r>
              <a:r>
                <a:rPr lang="ar-AE" sz="3500" b="1" i="1" dirty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</a:rPr>
                <a:t> </a:t>
              </a:r>
              <a:r>
                <a:rPr lang="ar-AE" sz="3500" b="1" i="1" dirty="0" smtClean="0">
                  <a:solidFill>
                    <a:srgbClr val="FFC000"/>
                  </a:solidFill>
                  <a:ea typeface="Arial Unicode MS" pitchFamily="34" charset="-128"/>
                  <a:cs typeface="Arial Unicode MS" pitchFamily="34" charset="-128"/>
                </a:rPr>
                <a:t>مليار دولار</a:t>
              </a:r>
              <a:endParaRPr lang="en-US" sz="3500" b="1" dirty="0" smtClean="0">
                <a:solidFill>
                  <a:srgbClr val="FFC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" name="Content Placeholder 2"/>
            <p:cNvSpPr txBox="1">
              <a:spLocks noChangeAspect="1"/>
            </p:cNvSpPr>
            <p:nvPr/>
          </p:nvSpPr>
          <p:spPr>
            <a:xfrm>
              <a:off x="2761881" y="4634862"/>
              <a:ext cx="2851573" cy="84809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algn="ctr" defTabSz="1018644" rtl="1" eaLnBrk="0" hangingPunct="0">
                <a:spcBef>
                  <a:spcPts val="111"/>
                </a:spcBef>
                <a:spcAft>
                  <a:spcPts val="334"/>
                </a:spcAft>
              </a:pPr>
              <a:r>
                <a:rPr lang="ar-AE" sz="5200" b="1" i="1" dirty="0" smtClean="0">
                  <a:solidFill>
                    <a:srgbClr val="FFC000"/>
                  </a:solidFill>
                  <a:ea typeface="Arial Unicode MS" pitchFamily="34" charset="-128"/>
                  <a:cs typeface="Arial Unicode MS" pitchFamily="34" charset="-128"/>
                </a:rPr>
                <a:t>900%</a:t>
              </a:r>
              <a:endParaRPr lang="en-US" sz="5200" b="1" dirty="0" smtClean="0">
                <a:solidFill>
                  <a:srgbClr val="FFC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5" name="Content Placeholder 2"/>
            <p:cNvSpPr txBox="1">
              <a:spLocks noChangeAspect="1"/>
            </p:cNvSpPr>
            <p:nvPr/>
          </p:nvSpPr>
          <p:spPr>
            <a:xfrm>
              <a:off x="757729" y="3472413"/>
              <a:ext cx="3202348" cy="108669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indent="5307" algn="ctr" defTabSz="1018644">
                <a:lnSpc>
                  <a:spcPts val="2450"/>
                </a:lnSpc>
                <a:spcBef>
                  <a:spcPct val="0"/>
                </a:spcBef>
                <a:buSzPct val="100000"/>
                <a:defRPr/>
              </a:pPr>
              <a:r>
                <a:rPr lang="ar-AE" sz="1800" i="1" dirty="0" smtClean="0">
                  <a:solidFill>
                    <a:srgbClr val="FFFFFF"/>
                  </a:solidFill>
                </a:rPr>
                <a:t>هو الحجم المقدّر لسوق التعلّم الإلكتروني الدولي بحلول عام 2015</a:t>
              </a:r>
              <a:endParaRPr lang="en-US" sz="1800" i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6" name="Content Placeholder 2"/>
            <p:cNvSpPr txBox="1">
              <a:spLocks noChangeAspect="1"/>
            </p:cNvSpPr>
            <p:nvPr/>
          </p:nvSpPr>
          <p:spPr>
            <a:xfrm>
              <a:off x="4079303" y="2204610"/>
              <a:ext cx="2851573" cy="84809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algn="ctr" defTabSz="1018644" rtl="1" eaLnBrk="0" hangingPunct="0">
                <a:spcBef>
                  <a:spcPts val="111"/>
                </a:spcBef>
                <a:spcAft>
                  <a:spcPts val="334"/>
                </a:spcAft>
              </a:pPr>
              <a:r>
                <a:rPr lang="ar-AE" sz="4400" b="1" i="1" dirty="0" smtClean="0">
                  <a:solidFill>
                    <a:srgbClr val="FFC000"/>
                  </a:solidFill>
                  <a:ea typeface="Arial Unicode MS" pitchFamily="34" charset="-128"/>
                  <a:cs typeface="Arial Unicode MS" pitchFamily="34" charset="-128"/>
                </a:rPr>
                <a:t>50%</a:t>
              </a:r>
              <a:endParaRPr lang="en-US" sz="4400" b="1" dirty="0" smtClean="0">
                <a:solidFill>
                  <a:srgbClr val="FFC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7" name="Content Placeholder 2"/>
            <p:cNvSpPr txBox="1">
              <a:spLocks noChangeAspect="1"/>
            </p:cNvSpPr>
            <p:nvPr/>
          </p:nvSpPr>
          <p:spPr>
            <a:xfrm>
              <a:off x="4161606" y="3095395"/>
              <a:ext cx="2672719" cy="108669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indent="5307" algn="ctr" defTabSz="1018644" rtl="1">
                <a:lnSpc>
                  <a:spcPts val="2227"/>
                </a:lnSpc>
                <a:spcBef>
                  <a:spcPct val="0"/>
                </a:spcBef>
                <a:spcAft>
                  <a:spcPts val="1337"/>
                </a:spcAft>
                <a:buSzPct val="100000"/>
                <a:defRPr/>
              </a:pPr>
              <a:r>
                <a:rPr lang="ar-AE" sz="1800" i="1" dirty="0" smtClean="0">
                  <a:solidFill>
                    <a:srgbClr val="FFFFFF"/>
                  </a:solidFill>
                </a:rPr>
                <a:t>هي نسبة المقررات التي تدرّس على الشبكة بحلول عام 2019</a:t>
              </a:r>
              <a:endParaRPr lang="en-US" sz="1800" i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8" name="Rectangle 64"/>
            <p:cNvSpPr>
              <a:spLocks noChangeArrowheads="1"/>
            </p:cNvSpPr>
            <p:nvPr/>
          </p:nvSpPr>
          <p:spPr bwMode="auto">
            <a:xfrm>
              <a:off x="7346961" y="2638729"/>
              <a:ext cx="2750171" cy="3942368"/>
            </a:xfrm>
            <a:prstGeom prst="rect">
              <a:avLst/>
            </a:prstGeom>
            <a:noFill/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square" lIns="152806" tIns="509352" rIns="101870" bIns="50935" anchor="ctr" anchorCtr="0"/>
            <a:lstStyle/>
            <a:p>
              <a:pPr marL="190974" indent="-190974" algn="r" defTabSz="381947" rtl="1">
                <a:lnSpc>
                  <a:spcPts val="1671"/>
                </a:lnSpc>
                <a:spcBef>
                  <a:spcPts val="668"/>
                </a:spcBef>
                <a:buFont typeface="Arial" pitchFamily="34" charset="0"/>
                <a:buChar char="•"/>
              </a:pPr>
              <a:r>
                <a:rPr lang="ar-AE" sz="2400" dirty="0" smtClean="0">
                  <a:ea typeface="Arial Unicode MS" pitchFamily="34" charset="-128"/>
                  <a:cs typeface="+mj-cs"/>
                </a:rPr>
                <a:t>التغلب 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على القيود </a:t>
              </a:r>
              <a:endParaRPr lang="ar-SA" sz="2400" dirty="0" smtClean="0">
                <a:ea typeface="Arial Unicode MS" pitchFamily="34" charset="-128"/>
                <a:cs typeface="+mj-cs"/>
              </a:endParaRPr>
            </a:p>
            <a:p>
              <a:pPr marL="190974" indent="-190974" algn="r" defTabSz="381947" rtl="1">
                <a:lnSpc>
                  <a:spcPts val="1671"/>
                </a:lnSpc>
                <a:spcBef>
                  <a:spcPts val="668"/>
                </a:spcBef>
                <a:buFont typeface="Arial" pitchFamily="34" charset="0"/>
                <a:buChar char="•"/>
              </a:pPr>
              <a:r>
                <a:rPr lang="ar-AE" sz="2400" dirty="0" smtClean="0">
                  <a:ea typeface="Arial Unicode MS" pitchFamily="34" charset="-128"/>
                  <a:cs typeface="+mj-cs"/>
                </a:rPr>
                <a:t>الجغرافية 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التي 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تعيق</a:t>
              </a:r>
              <a:endParaRPr lang="ar-SA" sz="2400" dirty="0" smtClean="0">
                <a:ea typeface="Arial Unicode MS" pitchFamily="34" charset="-128"/>
                <a:cs typeface="+mj-cs"/>
              </a:endParaRPr>
            </a:p>
            <a:p>
              <a:pPr marL="190974" indent="-190974" algn="r" defTabSz="381947" rtl="1">
                <a:lnSpc>
                  <a:spcPts val="1671"/>
                </a:lnSpc>
                <a:spcBef>
                  <a:spcPts val="668"/>
                </a:spcBef>
                <a:buFont typeface="Arial" pitchFamily="34" charset="0"/>
                <a:buChar char="•"/>
              </a:pPr>
              <a:r>
                <a:rPr lang="ar-AE" sz="2400" dirty="0" smtClean="0">
                  <a:ea typeface="Arial Unicode MS" pitchFamily="34" charset="-128"/>
                  <a:cs typeface="+mj-cs"/>
                </a:rPr>
                <a:t> 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التعلّم </a:t>
              </a:r>
            </a:p>
            <a:p>
              <a:pPr marL="190974" indent="-190974" algn="r" defTabSz="381947" rtl="1">
                <a:lnSpc>
                  <a:spcPts val="1671"/>
                </a:lnSpc>
                <a:spcBef>
                  <a:spcPts val="668"/>
                </a:spcBef>
                <a:buFont typeface="Arial" pitchFamily="34" charset="0"/>
                <a:buChar char="•"/>
              </a:pPr>
              <a:r>
                <a:rPr lang="ar-AE" sz="2400" dirty="0" smtClean="0">
                  <a:ea typeface="Arial Unicode MS" pitchFamily="34" charset="-128"/>
                  <a:cs typeface="+mj-cs"/>
                </a:rPr>
                <a:t>يجعل 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من التعلّم تجربة </a:t>
              </a:r>
              <a:endParaRPr lang="ar-SA" sz="2400" dirty="0" smtClean="0">
                <a:ea typeface="Arial Unicode MS" pitchFamily="34" charset="-128"/>
                <a:cs typeface="+mj-cs"/>
              </a:endParaRPr>
            </a:p>
            <a:p>
              <a:pPr marL="190974" indent="-190974" algn="r" defTabSz="381947" rtl="1">
                <a:lnSpc>
                  <a:spcPts val="1671"/>
                </a:lnSpc>
                <a:spcBef>
                  <a:spcPts val="668"/>
                </a:spcBef>
                <a:buFont typeface="Arial" pitchFamily="34" charset="0"/>
                <a:buChar char="•"/>
              </a:pPr>
              <a:r>
                <a:rPr lang="ar-AE" sz="2400" dirty="0" smtClean="0">
                  <a:ea typeface="Arial Unicode MS" pitchFamily="34" charset="-128"/>
                  <a:cs typeface="+mj-cs"/>
                </a:rPr>
                <a:t>نشطة 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مع الت</a:t>
              </a:r>
              <a:r>
                <a:rPr lang="ar-SA" sz="2400" dirty="0" err="1" smtClean="0">
                  <a:ea typeface="Arial Unicode MS" pitchFamily="34" charset="-128"/>
                  <a:cs typeface="+mj-cs"/>
                </a:rPr>
                <a:t>ركيز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 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على</a:t>
              </a:r>
              <a:endParaRPr lang="ar-SA" sz="2400" dirty="0" smtClean="0">
                <a:ea typeface="Arial Unicode MS" pitchFamily="34" charset="-128"/>
                <a:cs typeface="+mj-cs"/>
              </a:endParaRPr>
            </a:p>
            <a:p>
              <a:pPr marL="190974" indent="-190974" algn="r" defTabSz="381947" rtl="1">
                <a:lnSpc>
                  <a:spcPts val="1671"/>
                </a:lnSpc>
                <a:spcBef>
                  <a:spcPts val="668"/>
                </a:spcBef>
                <a:buFont typeface="Arial" pitchFamily="34" charset="0"/>
                <a:buChar char="•"/>
              </a:pPr>
              <a:r>
                <a:rPr lang="ar-AE" sz="2400" dirty="0" smtClean="0">
                  <a:ea typeface="Arial Unicode MS" pitchFamily="34" charset="-128"/>
                  <a:cs typeface="+mj-cs"/>
                </a:rPr>
                <a:t> 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التفاعل</a:t>
              </a:r>
              <a:r>
                <a:rPr lang="ar-SA" sz="2400" dirty="0" err="1" smtClean="0">
                  <a:ea typeface="Arial Unicode MS" pitchFamily="34" charset="-128"/>
                  <a:cs typeface="+mj-cs"/>
                </a:rPr>
                <a:t>ية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 </a:t>
              </a:r>
            </a:p>
            <a:p>
              <a:pPr marL="190974" indent="-190974" algn="r" defTabSz="381947" rtl="1">
                <a:lnSpc>
                  <a:spcPts val="1671"/>
                </a:lnSpc>
                <a:spcBef>
                  <a:spcPts val="668"/>
                </a:spcBef>
                <a:buFont typeface="Arial" pitchFamily="34" charset="0"/>
                <a:buChar char="•"/>
              </a:pPr>
              <a:r>
                <a:rPr lang="ar-AE" sz="2400" dirty="0" smtClean="0">
                  <a:ea typeface="Arial Unicode MS" pitchFamily="34" charset="-128"/>
                  <a:cs typeface="+mj-cs"/>
                </a:rPr>
                <a:t>يمكّن 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المتعلمين </a:t>
              </a:r>
              <a:r>
                <a:rPr lang="ar-SA" sz="2400" dirty="0" smtClean="0">
                  <a:ea typeface="Arial Unicode MS" pitchFamily="34" charset="-128"/>
                  <a:cs typeface="+mj-cs"/>
                </a:rPr>
                <a:t>من </a:t>
              </a:r>
              <a:endParaRPr lang="ar-SA" sz="2400" dirty="0" smtClean="0">
                <a:ea typeface="Arial Unicode MS" pitchFamily="34" charset="-128"/>
                <a:cs typeface="+mj-cs"/>
              </a:endParaRPr>
            </a:p>
            <a:p>
              <a:pPr marL="190974" indent="-190974" algn="r" defTabSz="381947" rtl="1">
                <a:lnSpc>
                  <a:spcPts val="1671"/>
                </a:lnSpc>
                <a:spcBef>
                  <a:spcPts val="668"/>
                </a:spcBef>
                <a:buFont typeface="Arial" pitchFamily="34" charset="0"/>
                <a:buChar char="•"/>
              </a:pPr>
              <a:r>
                <a:rPr lang="ar-AE" sz="2400" dirty="0" smtClean="0">
                  <a:ea typeface="Arial Unicode MS" pitchFamily="34" charset="-128"/>
                  <a:cs typeface="+mj-cs"/>
                </a:rPr>
                <a:t>إدارة 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عملية 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التعلّم</a:t>
              </a:r>
              <a:endParaRPr lang="ar-SA" sz="2400" dirty="0" smtClean="0">
                <a:ea typeface="Arial Unicode MS" pitchFamily="34" charset="-128"/>
                <a:cs typeface="+mj-cs"/>
              </a:endParaRPr>
            </a:p>
            <a:p>
              <a:pPr marL="190974" indent="-190974" algn="r" defTabSz="381947" rtl="1">
                <a:lnSpc>
                  <a:spcPts val="1671"/>
                </a:lnSpc>
                <a:spcBef>
                  <a:spcPts val="668"/>
                </a:spcBef>
                <a:buFont typeface="Arial" pitchFamily="34" charset="0"/>
                <a:buChar char="•"/>
              </a:pPr>
              <a:r>
                <a:rPr lang="ar-AE" sz="2400" dirty="0" smtClean="0">
                  <a:ea typeface="Arial Unicode MS" pitchFamily="34" charset="-128"/>
                  <a:cs typeface="+mj-cs"/>
                </a:rPr>
                <a:t> 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الخاصة بهم بالطريقة </a:t>
              </a:r>
              <a:endParaRPr lang="ar-SA" sz="2400" dirty="0" smtClean="0">
                <a:ea typeface="Arial Unicode MS" pitchFamily="34" charset="-128"/>
                <a:cs typeface="+mj-cs"/>
              </a:endParaRPr>
            </a:p>
            <a:p>
              <a:pPr marL="190974" indent="-190974" algn="r" defTabSz="381947" rtl="1">
                <a:lnSpc>
                  <a:spcPts val="1671"/>
                </a:lnSpc>
                <a:spcBef>
                  <a:spcPts val="668"/>
                </a:spcBef>
                <a:buFont typeface="Arial" pitchFamily="34" charset="0"/>
                <a:buChar char="•"/>
              </a:pPr>
              <a:r>
                <a:rPr lang="ar-AE" sz="2400" dirty="0" smtClean="0">
                  <a:ea typeface="Arial Unicode MS" pitchFamily="34" charset="-128"/>
                  <a:cs typeface="+mj-cs"/>
                </a:rPr>
                <a:t>الأنسب 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لكل</a:t>
              </a:r>
              <a:r>
                <a:rPr lang="ar-SA" sz="2400" dirty="0" smtClean="0">
                  <a:ea typeface="Arial Unicode MS" pitchFamily="34" charset="-128"/>
                  <a:cs typeface="+mj-cs"/>
                </a:rPr>
                <a:t>ٍ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 منهم </a:t>
              </a:r>
            </a:p>
            <a:p>
              <a:pPr marL="190974" indent="-190974" algn="r" defTabSz="381947" rtl="1">
                <a:lnSpc>
                  <a:spcPts val="1671"/>
                </a:lnSpc>
                <a:spcBef>
                  <a:spcPts val="668"/>
                </a:spcBef>
                <a:buFont typeface="Arial" pitchFamily="34" charset="0"/>
                <a:buChar char="•"/>
              </a:pPr>
              <a:r>
                <a:rPr lang="ar-AE" sz="2400" dirty="0" smtClean="0">
                  <a:ea typeface="Arial Unicode MS" pitchFamily="34" charset="-128"/>
                  <a:cs typeface="+mj-cs"/>
                </a:rPr>
                <a:t>بفضل التعلّم ال</a:t>
              </a:r>
              <a:r>
                <a:rPr lang="ar-SA" sz="2400" dirty="0" smtClean="0">
                  <a:ea typeface="Arial Unicode MS" pitchFamily="34" charset="-128"/>
                  <a:cs typeface="+mj-cs"/>
                </a:rPr>
                <a:t>جوال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،</a:t>
              </a:r>
              <a:endParaRPr lang="ar-SA" sz="2400" dirty="0" smtClean="0">
                <a:ea typeface="Arial Unicode MS" pitchFamily="34" charset="-128"/>
                <a:cs typeface="+mj-cs"/>
              </a:endParaRPr>
            </a:p>
            <a:p>
              <a:pPr marL="190974" indent="-190974" algn="r" defTabSz="381947" rtl="1">
                <a:lnSpc>
                  <a:spcPts val="1671"/>
                </a:lnSpc>
                <a:spcBef>
                  <a:spcPts val="668"/>
                </a:spcBef>
                <a:buFont typeface="Arial" pitchFamily="34" charset="0"/>
                <a:buChar char="•"/>
              </a:pPr>
              <a:r>
                <a:rPr lang="ar-AE" sz="2400" dirty="0" smtClean="0">
                  <a:ea typeface="Arial Unicode MS" pitchFamily="34" charset="-128"/>
                  <a:cs typeface="+mj-cs"/>
                </a:rPr>
                <a:t> </a:t>
              </a:r>
              <a:r>
                <a:rPr lang="ar-AE" sz="2400" dirty="0" smtClean="0">
                  <a:ea typeface="Arial Unicode MS" pitchFamily="34" charset="-128"/>
                  <a:cs typeface="+mj-cs"/>
                </a:rPr>
                <a:t>انتقل التعلّم من الحاسوب إلى الجيب </a:t>
              </a:r>
            </a:p>
            <a:p>
              <a:pPr marL="190974" indent="-190974" algn="r" defTabSz="381947" rtl="1">
                <a:lnSpc>
                  <a:spcPts val="1671"/>
                </a:lnSpc>
                <a:spcBef>
                  <a:spcPts val="668"/>
                </a:spcBef>
                <a:buFont typeface="Arial" pitchFamily="34" charset="0"/>
                <a:buChar char="•"/>
              </a:pPr>
              <a:endParaRPr lang="en-US" sz="1400" dirty="0" smtClean="0">
                <a:solidFill>
                  <a:srgbClr val="000000"/>
                </a:solidFill>
                <a:ea typeface="Arial Unicode MS" pitchFamily="34" charset="-128"/>
                <a:cs typeface="+mj-cs"/>
              </a:endParaRPr>
            </a:p>
          </p:txBody>
        </p:sp>
        <p:sp>
          <p:nvSpPr>
            <p:cNvPr id="19" name="Rectangle 10"/>
            <p:cNvSpPr>
              <a:spLocks noChangeArrowheads="1"/>
            </p:cNvSpPr>
            <p:nvPr/>
          </p:nvSpPr>
          <p:spPr bwMode="auto">
            <a:xfrm>
              <a:off x="7346961" y="2239820"/>
              <a:ext cx="2750171" cy="451951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101870" tIns="101870" rIns="50935" bIns="101870" anchor="ctr" anchorCtr="0">
              <a:spAutoFit/>
            </a:bodyPr>
            <a:lstStyle/>
            <a:p>
              <a:pPr algn="ctr" defTabSz="1018644" eaLnBrk="0" hangingPunct="0">
                <a:spcBef>
                  <a:spcPct val="50000"/>
                </a:spcBef>
              </a:pPr>
              <a:r>
                <a:rPr lang="ar-AE" sz="1600" b="1" i="1" dirty="0" smtClean="0">
                  <a:solidFill>
                    <a:srgbClr val="FFFFFF"/>
                  </a:solidFill>
                </a:rPr>
                <a:t>لماذا التعلّم الإلكتروني؟</a:t>
              </a:r>
              <a:endParaRPr lang="en-US" sz="1600" b="1" i="1" dirty="0">
                <a:solidFill>
                  <a:srgbClr val="FFFFFF"/>
                </a:solidFill>
              </a:endParaRPr>
            </a:p>
          </p:txBody>
        </p:sp>
        <p:sp>
          <p:nvSpPr>
            <p:cNvPr id="22" name="Right Arrow 21"/>
            <p:cNvSpPr/>
            <p:nvPr/>
          </p:nvSpPr>
          <p:spPr>
            <a:xfrm>
              <a:off x="7218908" y="3419616"/>
              <a:ext cx="324041" cy="289007"/>
            </a:xfrm>
            <a:prstGeom prst="rightArrow">
              <a:avLst/>
            </a:prstGeom>
            <a:noFill/>
            <a:ln w="25400">
              <a:solidFill>
                <a:srgbClr val="FF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 defTabSz="1018644"/>
              <a:endParaRPr lang="en-US" sz="11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3" name="Right Arrow 22"/>
            <p:cNvSpPr/>
            <p:nvPr/>
          </p:nvSpPr>
          <p:spPr>
            <a:xfrm>
              <a:off x="7218908" y="4715760"/>
              <a:ext cx="324041" cy="289007"/>
            </a:xfrm>
            <a:prstGeom prst="rightArrow">
              <a:avLst/>
            </a:prstGeom>
            <a:noFill/>
            <a:ln w="25400">
              <a:solidFill>
                <a:srgbClr val="FF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 defTabSz="1018644"/>
              <a:endParaRPr lang="en-US" sz="11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20" name="Content Placeholder 2"/>
            <p:cNvSpPr txBox="1">
              <a:spLocks noChangeAspect="1"/>
            </p:cNvSpPr>
            <p:nvPr/>
          </p:nvSpPr>
          <p:spPr>
            <a:xfrm>
              <a:off x="2612333" y="5638418"/>
              <a:ext cx="3202348" cy="108669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indent="5307" algn="ctr" defTabSz="1018644" rtl="1">
                <a:lnSpc>
                  <a:spcPts val="2450"/>
                </a:lnSpc>
                <a:spcBef>
                  <a:spcPct val="0"/>
                </a:spcBef>
                <a:buSzPct val="100000"/>
                <a:defRPr/>
              </a:pPr>
              <a:r>
                <a:rPr lang="ar-AE" sz="1800" i="1" dirty="0" smtClean="0">
                  <a:solidFill>
                    <a:srgbClr val="FFFFFF"/>
                  </a:solidFill>
                </a:rPr>
                <a:t>هو معدل النمو الإجمالي المسجل في سوق التعلّم الإلكتروني منذ عام 2000</a:t>
              </a:r>
              <a:endParaRPr lang="en-US" sz="1800" i="1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6" name="Right Arrow 25"/>
            <p:cNvSpPr/>
            <p:nvPr/>
          </p:nvSpPr>
          <p:spPr>
            <a:xfrm>
              <a:off x="7218908" y="5795880"/>
              <a:ext cx="324041" cy="289007"/>
            </a:xfrm>
            <a:prstGeom prst="rightArrow">
              <a:avLst/>
            </a:prstGeom>
            <a:noFill/>
            <a:ln w="25400">
              <a:solidFill>
                <a:srgbClr val="FF0000"/>
              </a:solidFill>
            </a:ln>
          </p:spPr>
          <p:txBody>
            <a:bodyPr vert="horz" wrap="square" lIns="91440" tIns="45720" rIns="91440" bIns="45720" rtlCol="0" anchor="ctr">
              <a:noAutofit/>
            </a:bodyPr>
            <a:lstStyle/>
            <a:p>
              <a:pPr algn="ctr" defTabSz="1018644"/>
              <a:endParaRPr lang="en-US" sz="1100" dirty="0" smtClean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2220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690517" y="108225"/>
            <a:ext cx="6840760" cy="1080119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 fontScale="82500" lnSpcReduction="10000"/>
          </a:bodyPr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ar-AE" dirty="0" smtClean="0">
                <a:solidFill>
                  <a:prstClr val="white"/>
                </a:solidFill>
              </a:rPr>
              <a:t>التوجهات العالمية في التعلّم الإلكتروني </a:t>
            </a:r>
            <a:endParaRPr lang="en-GB" dirty="0" smtClean="0">
              <a:solidFill>
                <a:prstClr val="white"/>
              </a:solidFill>
            </a:endParaRPr>
          </a:p>
        </p:txBody>
      </p:sp>
      <p:grpSp>
        <p:nvGrpSpPr>
          <p:cNvPr id="66" name="Group 65"/>
          <p:cNvGrpSpPr/>
          <p:nvPr/>
        </p:nvGrpSpPr>
        <p:grpSpPr>
          <a:xfrm flipH="1">
            <a:off x="18107" y="1404368"/>
            <a:ext cx="10868092" cy="5544616"/>
            <a:chOff x="18108" y="1404367"/>
            <a:chExt cx="10868092" cy="5544616"/>
          </a:xfrm>
        </p:grpSpPr>
        <p:sp>
          <p:nvSpPr>
            <p:cNvPr id="16" name="Content Placeholder 2"/>
            <p:cNvSpPr txBox="1">
              <a:spLocks noChangeAspect="1"/>
            </p:cNvSpPr>
            <p:nvPr/>
          </p:nvSpPr>
          <p:spPr>
            <a:xfrm>
              <a:off x="3946800" y="1764408"/>
              <a:ext cx="2851573" cy="848095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 algn="ctr" defTabSz="1018644" eaLnBrk="0" hangingPunct="0">
                <a:spcBef>
                  <a:spcPts val="111"/>
                </a:spcBef>
                <a:spcAft>
                  <a:spcPts val="334"/>
                </a:spcAft>
              </a:pPr>
              <a:r>
                <a:rPr lang="en-US" sz="6000" b="1" i="1" dirty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</a:rPr>
                <a:t>#</a:t>
              </a:r>
              <a:r>
                <a:rPr lang="en-US" sz="7400" b="1" i="1" dirty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</a:rPr>
                <a:t>1</a:t>
              </a:r>
              <a:endParaRPr lang="en-US" sz="7400" b="1" dirty="0" smtClean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grpSp>
          <p:nvGrpSpPr>
            <p:cNvPr id="2" name="Group 10"/>
            <p:cNvGrpSpPr>
              <a:grpSpLocks/>
            </p:cNvGrpSpPr>
            <p:nvPr/>
          </p:nvGrpSpPr>
          <p:grpSpPr bwMode="auto">
            <a:xfrm>
              <a:off x="5819555" y="1908424"/>
              <a:ext cx="1831401" cy="1656183"/>
              <a:chOff x="4560" y="2688"/>
              <a:chExt cx="795" cy="1321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32" name="Freeform 11"/>
              <p:cNvSpPr>
                <a:spLocks/>
              </p:cNvSpPr>
              <p:nvPr/>
            </p:nvSpPr>
            <p:spPr bwMode="auto">
              <a:xfrm>
                <a:off x="4963" y="2688"/>
                <a:ext cx="345" cy="44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62" y="1"/>
                  </a:cxn>
                  <a:cxn ang="0">
                    <a:pos x="345" y="447"/>
                  </a:cxn>
                  <a:cxn ang="0">
                    <a:pos x="272" y="444"/>
                  </a:cxn>
                  <a:cxn ang="0">
                    <a:pos x="268" y="399"/>
                  </a:cxn>
                  <a:cxn ang="0">
                    <a:pos x="256" y="375"/>
                  </a:cxn>
                  <a:cxn ang="0">
                    <a:pos x="233" y="357"/>
                  </a:cxn>
                  <a:cxn ang="0">
                    <a:pos x="205" y="351"/>
                  </a:cxn>
                  <a:cxn ang="0">
                    <a:pos x="176" y="353"/>
                  </a:cxn>
                  <a:cxn ang="0">
                    <a:pos x="154" y="369"/>
                  </a:cxn>
                  <a:cxn ang="0">
                    <a:pos x="137" y="387"/>
                  </a:cxn>
                  <a:cxn ang="0">
                    <a:pos x="128" y="419"/>
                  </a:cxn>
                  <a:cxn ang="0">
                    <a:pos x="127" y="442"/>
                  </a:cxn>
                  <a:cxn ang="0">
                    <a:pos x="0" y="442"/>
                  </a:cxn>
                  <a:cxn ang="0">
                    <a:pos x="1" y="310"/>
                  </a:cxn>
                  <a:cxn ang="0">
                    <a:pos x="18" y="305"/>
                  </a:cxn>
                  <a:cxn ang="0">
                    <a:pos x="34" y="311"/>
                  </a:cxn>
                  <a:cxn ang="0">
                    <a:pos x="53" y="299"/>
                  </a:cxn>
                  <a:cxn ang="0">
                    <a:pos x="67" y="276"/>
                  </a:cxn>
                  <a:cxn ang="0">
                    <a:pos x="79" y="249"/>
                  </a:cxn>
                  <a:cxn ang="0">
                    <a:pos x="79" y="221"/>
                  </a:cxn>
                  <a:cxn ang="0">
                    <a:pos x="76" y="191"/>
                  </a:cxn>
                  <a:cxn ang="0">
                    <a:pos x="61" y="161"/>
                  </a:cxn>
                  <a:cxn ang="0">
                    <a:pos x="43" y="144"/>
                  </a:cxn>
                  <a:cxn ang="0">
                    <a:pos x="25" y="141"/>
                  </a:cxn>
                  <a:cxn ang="0">
                    <a:pos x="10" y="149"/>
                  </a:cxn>
                  <a:cxn ang="0">
                    <a:pos x="0" y="138"/>
                  </a:cxn>
                  <a:cxn ang="0">
                    <a:pos x="0" y="0"/>
                  </a:cxn>
                </a:cxnLst>
                <a:rect l="0" t="0" r="r" b="b"/>
                <a:pathLst>
                  <a:path w="345" h="447">
                    <a:moveTo>
                      <a:pt x="0" y="0"/>
                    </a:moveTo>
                    <a:lnTo>
                      <a:pt x="262" y="1"/>
                    </a:lnTo>
                    <a:lnTo>
                      <a:pt x="345" y="447"/>
                    </a:lnTo>
                    <a:lnTo>
                      <a:pt x="272" y="444"/>
                    </a:lnTo>
                    <a:cubicBezTo>
                      <a:pt x="259" y="436"/>
                      <a:pt x="271" y="411"/>
                      <a:pt x="268" y="399"/>
                    </a:cubicBezTo>
                    <a:cubicBezTo>
                      <a:pt x="265" y="389"/>
                      <a:pt x="262" y="384"/>
                      <a:pt x="256" y="375"/>
                    </a:cubicBezTo>
                    <a:lnTo>
                      <a:pt x="233" y="357"/>
                    </a:lnTo>
                    <a:lnTo>
                      <a:pt x="205" y="351"/>
                    </a:lnTo>
                    <a:lnTo>
                      <a:pt x="176" y="353"/>
                    </a:lnTo>
                    <a:lnTo>
                      <a:pt x="154" y="369"/>
                    </a:lnTo>
                    <a:cubicBezTo>
                      <a:pt x="147" y="375"/>
                      <a:pt x="141" y="379"/>
                      <a:pt x="137" y="387"/>
                    </a:cubicBezTo>
                    <a:cubicBezTo>
                      <a:pt x="133" y="394"/>
                      <a:pt x="129" y="411"/>
                      <a:pt x="128" y="419"/>
                    </a:cubicBezTo>
                    <a:cubicBezTo>
                      <a:pt x="126" y="428"/>
                      <a:pt x="148" y="438"/>
                      <a:pt x="127" y="442"/>
                    </a:cubicBezTo>
                    <a:lnTo>
                      <a:pt x="0" y="442"/>
                    </a:lnTo>
                    <a:lnTo>
                      <a:pt x="1" y="310"/>
                    </a:lnTo>
                    <a:cubicBezTo>
                      <a:pt x="4" y="287"/>
                      <a:pt x="13" y="305"/>
                      <a:pt x="18" y="305"/>
                    </a:cubicBezTo>
                    <a:cubicBezTo>
                      <a:pt x="23" y="305"/>
                      <a:pt x="28" y="312"/>
                      <a:pt x="34" y="311"/>
                    </a:cubicBezTo>
                    <a:lnTo>
                      <a:pt x="53" y="299"/>
                    </a:lnTo>
                    <a:lnTo>
                      <a:pt x="67" y="276"/>
                    </a:lnTo>
                    <a:lnTo>
                      <a:pt x="79" y="249"/>
                    </a:lnTo>
                    <a:lnTo>
                      <a:pt x="79" y="221"/>
                    </a:lnTo>
                    <a:lnTo>
                      <a:pt x="76" y="191"/>
                    </a:lnTo>
                    <a:lnTo>
                      <a:pt x="61" y="161"/>
                    </a:lnTo>
                    <a:lnTo>
                      <a:pt x="43" y="144"/>
                    </a:lnTo>
                    <a:lnTo>
                      <a:pt x="25" y="141"/>
                    </a:lnTo>
                    <a:cubicBezTo>
                      <a:pt x="20" y="142"/>
                      <a:pt x="14" y="149"/>
                      <a:pt x="10" y="149"/>
                    </a:cubicBezTo>
                    <a:cubicBezTo>
                      <a:pt x="2" y="156"/>
                      <a:pt x="1" y="162"/>
                      <a:pt x="0" y="13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12"/>
              <p:cNvSpPr>
                <a:spLocks/>
              </p:cNvSpPr>
              <p:nvPr/>
            </p:nvSpPr>
            <p:spPr bwMode="auto">
              <a:xfrm>
                <a:off x="4887" y="3039"/>
                <a:ext cx="468" cy="617"/>
              </a:xfrm>
              <a:custGeom>
                <a:avLst/>
                <a:gdLst/>
                <a:ahLst/>
                <a:cxnLst>
                  <a:cxn ang="0">
                    <a:pos x="437" y="532"/>
                  </a:cxn>
                  <a:cxn ang="0">
                    <a:pos x="468" y="374"/>
                  </a:cxn>
                  <a:cxn ang="0">
                    <a:pos x="423" y="94"/>
                  </a:cxn>
                  <a:cxn ang="0">
                    <a:pos x="352" y="94"/>
                  </a:cxn>
                  <a:cxn ang="0">
                    <a:pos x="351" y="66"/>
                  </a:cxn>
                  <a:cxn ang="0">
                    <a:pos x="341" y="33"/>
                  </a:cxn>
                  <a:cxn ang="0">
                    <a:pos x="323" y="17"/>
                  </a:cxn>
                  <a:cxn ang="0">
                    <a:pos x="303" y="5"/>
                  </a:cxn>
                  <a:cxn ang="0">
                    <a:pos x="275" y="0"/>
                  </a:cxn>
                  <a:cxn ang="0">
                    <a:pos x="251" y="2"/>
                  </a:cxn>
                  <a:cxn ang="0">
                    <a:pos x="231" y="15"/>
                  </a:cxn>
                  <a:cxn ang="0">
                    <a:pos x="213" y="33"/>
                  </a:cxn>
                  <a:cxn ang="0">
                    <a:pos x="206" y="62"/>
                  </a:cxn>
                  <a:cxn ang="0">
                    <a:pos x="195" y="92"/>
                  </a:cxn>
                  <a:cxn ang="0">
                    <a:pos x="78" y="91"/>
                  </a:cxn>
                  <a:cxn ang="0">
                    <a:pos x="78" y="231"/>
                  </a:cxn>
                  <a:cxn ang="0">
                    <a:pos x="54" y="225"/>
                  </a:cxn>
                  <a:cxn ang="0">
                    <a:pos x="36" y="231"/>
                  </a:cxn>
                  <a:cxn ang="0">
                    <a:pos x="18" y="249"/>
                  </a:cxn>
                  <a:cxn ang="0">
                    <a:pos x="7" y="272"/>
                  </a:cxn>
                  <a:cxn ang="0">
                    <a:pos x="0" y="299"/>
                  </a:cxn>
                  <a:cxn ang="0">
                    <a:pos x="0" y="323"/>
                  </a:cxn>
                  <a:cxn ang="0">
                    <a:pos x="9" y="356"/>
                  </a:cxn>
                  <a:cxn ang="0">
                    <a:pos x="21" y="374"/>
                  </a:cxn>
                  <a:cxn ang="0">
                    <a:pos x="36" y="393"/>
                  </a:cxn>
                  <a:cxn ang="0">
                    <a:pos x="62" y="395"/>
                  </a:cxn>
                  <a:cxn ang="0">
                    <a:pos x="77" y="392"/>
                  </a:cxn>
                  <a:cxn ang="0">
                    <a:pos x="77" y="530"/>
                  </a:cxn>
                  <a:cxn ang="0">
                    <a:pos x="195" y="530"/>
                  </a:cxn>
                  <a:cxn ang="0">
                    <a:pos x="196" y="552"/>
                  </a:cxn>
                  <a:cxn ang="0">
                    <a:pos x="201" y="581"/>
                  </a:cxn>
                  <a:cxn ang="0">
                    <a:pos x="216" y="600"/>
                  </a:cxn>
                  <a:cxn ang="0">
                    <a:pos x="234" y="614"/>
                  </a:cxn>
                  <a:cxn ang="0">
                    <a:pos x="260" y="617"/>
                  </a:cxn>
                  <a:cxn ang="0">
                    <a:pos x="284" y="615"/>
                  </a:cxn>
                  <a:cxn ang="0">
                    <a:pos x="308" y="608"/>
                  </a:cxn>
                  <a:cxn ang="0">
                    <a:pos x="326" y="593"/>
                  </a:cxn>
                  <a:cxn ang="0">
                    <a:pos x="336" y="575"/>
                  </a:cxn>
                  <a:cxn ang="0">
                    <a:pos x="338" y="548"/>
                  </a:cxn>
                  <a:cxn ang="0">
                    <a:pos x="339" y="529"/>
                  </a:cxn>
                  <a:cxn ang="0">
                    <a:pos x="437" y="532"/>
                  </a:cxn>
                </a:cxnLst>
                <a:rect l="0" t="0" r="r" b="b"/>
                <a:pathLst>
                  <a:path w="468" h="617">
                    <a:moveTo>
                      <a:pt x="437" y="532"/>
                    </a:moveTo>
                    <a:lnTo>
                      <a:pt x="468" y="374"/>
                    </a:lnTo>
                    <a:lnTo>
                      <a:pt x="423" y="94"/>
                    </a:lnTo>
                    <a:lnTo>
                      <a:pt x="352" y="94"/>
                    </a:lnTo>
                    <a:cubicBezTo>
                      <a:pt x="340" y="89"/>
                      <a:pt x="353" y="76"/>
                      <a:pt x="351" y="66"/>
                    </a:cubicBezTo>
                    <a:cubicBezTo>
                      <a:pt x="349" y="56"/>
                      <a:pt x="346" y="41"/>
                      <a:pt x="341" y="33"/>
                    </a:cubicBezTo>
                    <a:lnTo>
                      <a:pt x="323" y="17"/>
                    </a:lnTo>
                    <a:lnTo>
                      <a:pt x="303" y="5"/>
                    </a:lnTo>
                    <a:lnTo>
                      <a:pt x="275" y="0"/>
                    </a:lnTo>
                    <a:lnTo>
                      <a:pt x="251" y="2"/>
                    </a:lnTo>
                    <a:lnTo>
                      <a:pt x="231" y="15"/>
                    </a:lnTo>
                    <a:lnTo>
                      <a:pt x="213" y="33"/>
                    </a:lnTo>
                    <a:cubicBezTo>
                      <a:pt x="209" y="40"/>
                      <a:pt x="209" y="52"/>
                      <a:pt x="206" y="62"/>
                    </a:cubicBezTo>
                    <a:cubicBezTo>
                      <a:pt x="204" y="70"/>
                      <a:pt x="216" y="87"/>
                      <a:pt x="195" y="92"/>
                    </a:cubicBezTo>
                    <a:lnTo>
                      <a:pt x="78" y="91"/>
                    </a:lnTo>
                    <a:lnTo>
                      <a:pt x="78" y="231"/>
                    </a:lnTo>
                    <a:cubicBezTo>
                      <a:pt x="74" y="253"/>
                      <a:pt x="61" y="225"/>
                      <a:pt x="54" y="225"/>
                    </a:cubicBezTo>
                    <a:cubicBezTo>
                      <a:pt x="47" y="225"/>
                      <a:pt x="42" y="228"/>
                      <a:pt x="36" y="231"/>
                    </a:cubicBezTo>
                    <a:lnTo>
                      <a:pt x="18" y="249"/>
                    </a:lnTo>
                    <a:lnTo>
                      <a:pt x="7" y="272"/>
                    </a:lnTo>
                    <a:lnTo>
                      <a:pt x="0" y="299"/>
                    </a:lnTo>
                    <a:lnTo>
                      <a:pt x="0" y="323"/>
                    </a:lnTo>
                    <a:lnTo>
                      <a:pt x="9" y="356"/>
                    </a:lnTo>
                    <a:lnTo>
                      <a:pt x="21" y="374"/>
                    </a:lnTo>
                    <a:lnTo>
                      <a:pt x="36" y="393"/>
                    </a:lnTo>
                    <a:cubicBezTo>
                      <a:pt x="43" y="396"/>
                      <a:pt x="55" y="395"/>
                      <a:pt x="62" y="395"/>
                    </a:cubicBezTo>
                    <a:cubicBezTo>
                      <a:pt x="68" y="395"/>
                      <a:pt x="74" y="369"/>
                      <a:pt x="77" y="392"/>
                    </a:cubicBezTo>
                    <a:lnTo>
                      <a:pt x="77" y="530"/>
                    </a:lnTo>
                    <a:lnTo>
                      <a:pt x="195" y="530"/>
                    </a:lnTo>
                    <a:cubicBezTo>
                      <a:pt x="215" y="534"/>
                      <a:pt x="195" y="544"/>
                      <a:pt x="196" y="552"/>
                    </a:cubicBezTo>
                    <a:cubicBezTo>
                      <a:pt x="198" y="560"/>
                      <a:pt x="197" y="573"/>
                      <a:pt x="201" y="581"/>
                    </a:cubicBezTo>
                    <a:lnTo>
                      <a:pt x="216" y="600"/>
                    </a:lnTo>
                    <a:lnTo>
                      <a:pt x="234" y="614"/>
                    </a:lnTo>
                    <a:lnTo>
                      <a:pt x="260" y="617"/>
                    </a:lnTo>
                    <a:lnTo>
                      <a:pt x="284" y="615"/>
                    </a:lnTo>
                    <a:lnTo>
                      <a:pt x="308" y="608"/>
                    </a:lnTo>
                    <a:lnTo>
                      <a:pt x="326" y="593"/>
                    </a:lnTo>
                    <a:lnTo>
                      <a:pt x="336" y="575"/>
                    </a:lnTo>
                    <a:cubicBezTo>
                      <a:pt x="338" y="568"/>
                      <a:pt x="337" y="556"/>
                      <a:pt x="338" y="548"/>
                    </a:cubicBezTo>
                    <a:cubicBezTo>
                      <a:pt x="339" y="541"/>
                      <a:pt x="316" y="532"/>
                      <a:pt x="339" y="529"/>
                    </a:cubicBezTo>
                    <a:lnTo>
                      <a:pt x="437" y="5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Freeform 13"/>
              <p:cNvSpPr>
                <a:spLocks/>
              </p:cNvSpPr>
              <p:nvPr/>
            </p:nvSpPr>
            <p:spPr bwMode="auto">
              <a:xfrm>
                <a:off x="4564" y="3492"/>
                <a:ext cx="476" cy="517"/>
              </a:xfrm>
              <a:custGeom>
                <a:avLst/>
                <a:gdLst/>
                <a:ahLst/>
                <a:cxnLst>
                  <a:cxn ang="0">
                    <a:pos x="0" y="517"/>
                  </a:cxn>
                  <a:cxn ang="0">
                    <a:pos x="84" y="82"/>
                  </a:cxn>
                  <a:cxn ang="0">
                    <a:pos x="123" y="82"/>
                  </a:cxn>
                  <a:cxn ang="0">
                    <a:pos x="130" y="57"/>
                  </a:cxn>
                  <a:cxn ang="0">
                    <a:pos x="127" y="51"/>
                  </a:cxn>
                  <a:cxn ang="0">
                    <a:pos x="139" y="29"/>
                  </a:cxn>
                  <a:cxn ang="0">
                    <a:pos x="154" y="11"/>
                  </a:cxn>
                  <a:cxn ang="0">
                    <a:pos x="177" y="4"/>
                  </a:cxn>
                  <a:cxn ang="0">
                    <a:pos x="200" y="0"/>
                  </a:cxn>
                  <a:cxn ang="0">
                    <a:pos x="222" y="7"/>
                  </a:cxn>
                  <a:cxn ang="0">
                    <a:pos x="240" y="20"/>
                  </a:cxn>
                  <a:cxn ang="0">
                    <a:pos x="255" y="35"/>
                  </a:cxn>
                  <a:cxn ang="0">
                    <a:pos x="262" y="56"/>
                  </a:cxn>
                  <a:cxn ang="0">
                    <a:pos x="271" y="81"/>
                  </a:cxn>
                  <a:cxn ang="0">
                    <a:pos x="399" y="81"/>
                  </a:cxn>
                  <a:cxn ang="0">
                    <a:pos x="400" y="222"/>
                  </a:cxn>
                  <a:cxn ang="0">
                    <a:pos x="422" y="211"/>
                  </a:cxn>
                  <a:cxn ang="0">
                    <a:pos x="440" y="218"/>
                  </a:cxn>
                  <a:cxn ang="0">
                    <a:pos x="458" y="236"/>
                  </a:cxn>
                  <a:cxn ang="0">
                    <a:pos x="469" y="259"/>
                  </a:cxn>
                  <a:cxn ang="0">
                    <a:pos x="476" y="286"/>
                  </a:cxn>
                  <a:cxn ang="0">
                    <a:pos x="476" y="310"/>
                  </a:cxn>
                  <a:cxn ang="0">
                    <a:pos x="467" y="343"/>
                  </a:cxn>
                  <a:cxn ang="0">
                    <a:pos x="455" y="361"/>
                  </a:cxn>
                  <a:cxn ang="0">
                    <a:pos x="438" y="379"/>
                  </a:cxn>
                  <a:cxn ang="0">
                    <a:pos x="414" y="382"/>
                  </a:cxn>
                  <a:cxn ang="0">
                    <a:pos x="399" y="379"/>
                  </a:cxn>
                  <a:cxn ang="0">
                    <a:pos x="398" y="515"/>
                  </a:cxn>
                  <a:cxn ang="0">
                    <a:pos x="0" y="517"/>
                  </a:cxn>
                </a:cxnLst>
                <a:rect l="0" t="0" r="r" b="b"/>
                <a:pathLst>
                  <a:path w="476" h="517">
                    <a:moveTo>
                      <a:pt x="0" y="517"/>
                    </a:moveTo>
                    <a:lnTo>
                      <a:pt x="84" y="82"/>
                    </a:lnTo>
                    <a:lnTo>
                      <a:pt x="123" y="82"/>
                    </a:lnTo>
                    <a:cubicBezTo>
                      <a:pt x="131" y="78"/>
                      <a:pt x="129" y="62"/>
                      <a:pt x="130" y="57"/>
                    </a:cubicBezTo>
                    <a:cubicBezTo>
                      <a:pt x="131" y="52"/>
                      <a:pt x="126" y="56"/>
                      <a:pt x="127" y="51"/>
                    </a:cubicBezTo>
                    <a:cubicBezTo>
                      <a:pt x="128" y="46"/>
                      <a:pt x="135" y="36"/>
                      <a:pt x="139" y="29"/>
                    </a:cubicBezTo>
                    <a:lnTo>
                      <a:pt x="154" y="11"/>
                    </a:lnTo>
                    <a:lnTo>
                      <a:pt x="177" y="4"/>
                    </a:lnTo>
                    <a:lnTo>
                      <a:pt x="200" y="0"/>
                    </a:lnTo>
                    <a:lnTo>
                      <a:pt x="222" y="7"/>
                    </a:lnTo>
                    <a:lnTo>
                      <a:pt x="240" y="20"/>
                    </a:lnTo>
                    <a:lnTo>
                      <a:pt x="255" y="35"/>
                    </a:lnTo>
                    <a:cubicBezTo>
                      <a:pt x="258" y="41"/>
                      <a:pt x="259" y="48"/>
                      <a:pt x="262" y="56"/>
                    </a:cubicBezTo>
                    <a:cubicBezTo>
                      <a:pt x="264" y="64"/>
                      <a:pt x="248" y="76"/>
                      <a:pt x="271" y="81"/>
                    </a:cubicBezTo>
                    <a:lnTo>
                      <a:pt x="399" y="81"/>
                    </a:lnTo>
                    <a:lnTo>
                      <a:pt x="400" y="222"/>
                    </a:lnTo>
                    <a:cubicBezTo>
                      <a:pt x="404" y="244"/>
                      <a:pt x="415" y="212"/>
                      <a:pt x="422" y="211"/>
                    </a:cubicBezTo>
                    <a:cubicBezTo>
                      <a:pt x="429" y="212"/>
                      <a:pt x="434" y="214"/>
                      <a:pt x="440" y="218"/>
                    </a:cubicBezTo>
                    <a:lnTo>
                      <a:pt x="458" y="236"/>
                    </a:lnTo>
                    <a:lnTo>
                      <a:pt x="469" y="259"/>
                    </a:lnTo>
                    <a:lnTo>
                      <a:pt x="476" y="286"/>
                    </a:lnTo>
                    <a:lnTo>
                      <a:pt x="476" y="310"/>
                    </a:lnTo>
                    <a:lnTo>
                      <a:pt x="467" y="343"/>
                    </a:lnTo>
                    <a:lnTo>
                      <a:pt x="455" y="361"/>
                    </a:lnTo>
                    <a:lnTo>
                      <a:pt x="438" y="379"/>
                    </a:lnTo>
                    <a:cubicBezTo>
                      <a:pt x="431" y="382"/>
                      <a:pt x="420" y="382"/>
                      <a:pt x="414" y="382"/>
                    </a:cubicBezTo>
                    <a:cubicBezTo>
                      <a:pt x="408" y="382"/>
                      <a:pt x="402" y="356"/>
                      <a:pt x="399" y="379"/>
                    </a:cubicBezTo>
                    <a:lnTo>
                      <a:pt x="398" y="515"/>
                    </a:lnTo>
                    <a:lnTo>
                      <a:pt x="0" y="5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 14"/>
              <p:cNvSpPr>
                <a:spLocks/>
              </p:cNvSpPr>
              <p:nvPr/>
            </p:nvSpPr>
            <p:spPr bwMode="auto">
              <a:xfrm>
                <a:off x="4560" y="2689"/>
                <a:ext cx="483" cy="52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3" y="441"/>
                  </a:cxn>
                  <a:cxn ang="0">
                    <a:pos x="131" y="442"/>
                  </a:cxn>
                  <a:cxn ang="0">
                    <a:pos x="135" y="463"/>
                  </a:cxn>
                  <a:cxn ang="0">
                    <a:pos x="141" y="491"/>
                  </a:cxn>
                  <a:cxn ang="0">
                    <a:pos x="159" y="515"/>
                  </a:cxn>
                  <a:cxn ang="0">
                    <a:pos x="177" y="526"/>
                  </a:cxn>
                  <a:cxn ang="0">
                    <a:pos x="207" y="528"/>
                  </a:cxn>
                  <a:cxn ang="0">
                    <a:pos x="232" y="522"/>
                  </a:cxn>
                  <a:cxn ang="0">
                    <a:pos x="254" y="508"/>
                  </a:cxn>
                  <a:cxn ang="0">
                    <a:pos x="269" y="490"/>
                  </a:cxn>
                  <a:cxn ang="0">
                    <a:pos x="275" y="469"/>
                  </a:cxn>
                  <a:cxn ang="0">
                    <a:pos x="278" y="442"/>
                  </a:cxn>
                  <a:cxn ang="0">
                    <a:pos x="406" y="442"/>
                  </a:cxn>
                  <a:cxn ang="0">
                    <a:pos x="406" y="309"/>
                  </a:cxn>
                  <a:cxn ang="0">
                    <a:pos x="429" y="311"/>
                  </a:cxn>
                  <a:cxn ang="0">
                    <a:pos x="447" y="304"/>
                  </a:cxn>
                  <a:cxn ang="0">
                    <a:pos x="465" y="286"/>
                  </a:cxn>
                  <a:cxn ang="0">
                    <a:pos x="476" y="264"/>
                  </a:cxn>
                  <a:cxn ang="0">
                    <a:pos x="483" y="236"/>
                  </a:cxn>
                  <a:cxn ang="0">
                    <a:pos x="483" y="213"/>
                  </a:cxn>
                  <a:cxn ang="0">
                    <a:pos x="474" y="179"/>
                  </a:cxn>
                  <a:cxn ang="0">
                    <a:pos x="467" y="163"/>
                  </a:cxn>
                  <a:cxn ang="0">
                    <a:pos x="445" y="143"/>
                  </a:cxn>
                  <a:cxn ang="0">
                    <a:pos x="421" y="141"/>
                  </a:cxn>
                  <a:cxn ang="0">
                    <a:pos x="406" y="143"/>
                  </a:cxn>
                  <a:cxn ang="0">
                    <a:pos x="406" y="0"/>
                  </a:cxn>
                  <a:cxn ang="0">
                    <a:pos x="0" y="0"/>
                  </a:cxn>
                </a:cxnLst>
                <a:rect l="0" t="0" r="r" b="b"/>
                <a:pathLst>
                  <a:path w="483" h="528">
                    <a:moveTo>
                      <a:pt x="0" y="0"/>
                    </a:moveTo>
                    <a:lnTo>
                      <a:pt x="83" y="441"/>
                    </a:lnTo>
                    <a:lnTo>
                      <a:pt x="131" y="442"/>
                    </a:lnTo>
                    <a:cubicBezTo>
                      <a:pt x="140" y="446"/>
                      <a:pt x="133" y="455"/>
                      <a:pt x="135" y="463"/>
                    </a:cubicBezTo>
                    <a:cubicBezTo>
                      <a:pt x="137" y="470"/>
                      <a:pt x="136" y="483"/>
                      <a:pt x="141" y="491"/>
                    </a:cubicBezTo>
                    <a:lnTo>
                      <a:pt x="159" y="515"/>
                    </a:lnTo>
                    <a:lnTo>
                      <a:pt x="177" y="526"/>
                    </a:lnTo>
                    <a:lnTo>
                      <a:pt x="207" y="528"/>
                    </a:lnTo>
                    <a:lnTo>
                      <a:pt x="232" y="522"/>
                    </a:lnTo>
                    <a:lnTo>
                      <a:pt x="254" y="508"/>
                    </a:lnTo>
                    <a:lnTo>
                      <a:pt x="269" y="490"/>
                    </a:lnTo>
                    <a:cubicBezTo>
                      <a:pt x="272" y="484"/>
                      <a:pt x="273" y="477"/>
                      <a:pt x="275" y="469"/>
                    </a:cubicBezTo>
                    <a:cubicBezTo>
                      <a:pt x="277" y="461"/>
                      <a:pt x="256" y="446"/>
                      <a:pt x="278" y="442"/>
                    </a:cubicBezTo>
                    <a:lnTo>
                      <a:pt x="406" y="442"/>
                    </a:lnTo>
                    <a:lnTo>
                      <a:pt x="406" y="309"/>
                    </a:lnTo>
                    <a:cubicBezTo>
                      <a:pt x="410" y="287"/>
                      <a:pt x="422" y="312"/>
                      <a:pt x="429" y="311"/>
                    </a:cubicBezTo>
                    <a:cubicBezTo>
                      <a:pt x="436" y="310"/>
                      <a:pt x="441" y="308"/>
                      <a:pt x="447" y="304"/>
                    </a:cubicBezTo>
                    <a:lnTo>
                      <a:pt x="465" y="286"/>
                    </a:lnTo>
                    <a:lnTo>
                      <a:pt x="476" y="264"/>
                    </a:lnTo>
                    <a:lnTo>
                      <a:pt x="483" y="236"/>
                    </a:lnTo>
                    <a:lnTo>
                      <a:pt x="483" y="213"/>
                    </a:lnTo>
                    <a:lnTo>
                      <a:pt x="474" y="179"/>
                    </a:lnTo>
                    <a:lnTo>
                      <a:pt x="467" y="163"/>
                    </a:lnTo>
                    <a:lnTo>
                      <a:pt x="445" y="143"/>
                    </a:lnTo>
                    <a:cubicBezTo>
                      <a:pt x="438" y="139"/>
                      <a:pt x="427" y="141"/>
                      <a:pt x="421" y="141"/>
                    </a:cubicBezTo>
                    <a:cubicBezTo>
                      <a:pt x="415" y="141"/>
                      <a:pt x="409" y="166"/>
                      <a:pt x="406" y="143"/>
                    </a:cubicBezTo>
                    <a:lnTo>
                      <a:pt x="40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15"/>
              <p:cNvSpPr>
                <a:spLocks/>
              </p:cNvSpPr>
              <p:nvPr/>
            </p:nvSpPr>
            <p:spPr bwMode="auto">
              <a:xfrm>
                <a:off x="4641" y="3129"/>
                <a:ext cx="324" cy="44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51" y="247"/>
                  </a:cxn>
                  <a:cxn ang="0">
                    <a:pos x="8" y="445"/>
                  </a:cxn>
                  <a:cxn ang="0">
                    <a:pos x="47" y="446"/>
                  </a:cxn>
                  <a:cxn ang="0">
                    <a:pos x="53" y="424"/>
                  </a:cxn>
                  <a:cxn ang="0">
                    <a:pos x="56" y="405"/>
                  </a:cxn>
                  <a:cxn ang="0">
                    <a:pos x="65" y="386"/>
                  </a:cxn>
                  <a:cxn ang="0">
                    <a:pos x="86" y="371"/>
                  </a:cxn>
                  <a:cxn ang="0">
                    <a:pos x="109" y="365"/>
                  </a:cxn>
                  <a:cxn ang="0">
                    <a:pos x="134" y="366"/>
                  </a:cxn>
                  <a:cxn ang="0">
                    <a:pos x="154" y="376"/>
                  </a:cxn>
                  <a:cxn ang="0">
                    <a:pos x="171" y="389"/>
                  </a:cxn>
                  <a:cxn ang="0">
                    <a:pos x="182" y="417"/>
                  </a:cxn>
                  <a:cxn ang="0">
                    <a:pos x="195" y="444"/>
                  </a:cxn>
                  <a:cxn ang="0">
                    <a:pos x="323" y="443"/>
                  </a:cxn>
                  <a:cxn ang="0">
                    <a:pos x="323" y="301"/>
                  </a:cxn>
                  <a:cxn ang="0">
                    <a:pos x="304" y="306"/>
                  </a:cxn>
                  <a:cxn ang="0">
                    <a:pos x="282" y="301"/>
                  </a:cxn>
                  <a:cxn ang="0">
                    <a:pos x="266" y="284"/>
                  </a:cxn>
                  <a:cxn ang="0">
                    <a:pos x="250" y="256"/>
                  </a:cxn>
                  <a:cxn ang="0">
                    <a:pos x="246" y="223"/>
                  </a:cxn>
                  <a:cxn ang="0">
                    <a:pos x="249" y="194"/>
                  </a:cxn>
                  <a:cxn ang="0">
                    <a:pos x="263" y="161"/>
                  </a:cxn>
                  <a:cxn ang="0">
                    <a:pos x="280" y="143"/>
                  </a:cxn>
                  <a:cxn ang="0">
                    <a:pos x="298" y="136"/>
                  </a:cxn>
                  <a:cxn ang="0">
                    <a:pos x="324" y="138"/>
                  </a:cxn>
                  <a:cxn ang="0">
                    <a:pos x="324" y="0"/>
                  </a:cxn>
                  <a:cxn ang="0">
                    <a:pos x="197" y="1"/>
                  </a:cxn>
                  <a:cxn ang="0">
                    <a:pos x="192" y="34"/>
                  </a:cxn>
                  <a:cxn ang="0">
                    <a:pos x="183" y="57"/>
                  </a:cxn>
                  <a:cxn ang="0">
                    <a:pos x="161" y="77"/>
                  </a:cxn>
                  <a:cxn ang="0">
                    <a:pos x="138" y="87"/>
                  </a:cxn>
                  <a:cxn ang="0">
                    <a:pos x="110" y="89"/>
                  </a:cxn>
                  <a:cxn ang="0">
                    <a:pos x="78" y="70"/>
                  </a:cxn>
                  <a:cxn ang="0">
                    <a:pos x="64" y="51"/>
                  </a:cxn>
                  <a:cxn ang="0">
                    <a:pos x="56" y="24"/>
                  </a:cxn>
                  <a:cxn ang="0">
                    <a:pos x="45" y="2"/>
                  </a:cxn>
                  <a:cxn ang="0">
                    <a:pos x="0" y="2"/>
                  </a:cxn>
                </a:cxnLst>
                <a:rect l="0" t="0" r="r" b="b"/>
                <a:pathLst>
                  <a:path w="324" h="446">
                    <a:moveTo>
                      <a:pt x="0" y="2"/>
                    </a:moveTo>
                    <a:lnTo>
                      <a:pt x="51" y="247"/>
                    </a:lnTo>
                    <a:lnTo>
                      <a:pt x="8" y="445"/>
                    </a:lnTo>
                    <a:lnTo>
                      <a:pt x="47" y="446"/>
                    </a:lnTo>
                    <a:cubicBezTo>
                      <a:pt x="54" y="443"/>
                      <a:pt x="52" y="431"/>
                      <a:pt x="53" y="424"/>
                    </a:cubicBezTo>
                    <a:cubicBezTo>
                      <a:pt x="54" y="418"/>
                      <a:pt x="53" y="411"/>
                      <a:pt x="56" y="405"/>
                    </a:cubicBezTo>
                    <a:cubicBezTo>
                      <a:pt x="58" y="399"/>
                      <a:pt x="60" y="392"/>
                      <a:pt x="65" y="386"/>
                    </a:cubicBezTo>
                    <a:lnTo>
                      <a:pt x="86" y="371"/>
                    </a:lnTo>
                    <a:lnTo>
                      <a:pt x="109" y="365"/>
                    </a:lnTo>
                    <a:lnTo>
                      <a:pt x="134" y="366"/>
                    </a:lnTo>
                    <a:lnTo>
                      <a:pt x="154" y="376"/>
                    </a:lnTo>
                    <a:lnTo>
                      <a:pt x="171" y="389"/>
                    </a:lnTo>
                    <a:lnTo>
                      <a:pt x="182" y="417"/>
                    </a:lnTo>
                    <a:cubicBezTo>
                      <a:pt x="184" y="424"/>
                      <a:pt x="172" y="440"/>
                      <a:pt x="195" y="444"/>
                    </a:cubicBezTo>
                    <a:lnTo>
                      <a:pt x="323" y="443"/>
                    </a:lnTo>
                    <a:lnTo>
                      <a:pt x="323" y="301"/>
                    </a:lnTo>
                    <a:cubicBezTo>
                      <a:pt x="320" y="278"/>
                      <a:pt x="311" y="306"/>
                      <a:pt x="304" y="306"/>
                    </a:cubicBezTo>
                    <a:cubicBezTo>
                      <a:pt x="297" y="306"/>
                      <a:pt x="288" y="304"/>
                      <a:pt x="282" y="301"/>
                    </a:cubicBezTo>
                    <a:cubicBezTo>
                      <a:pt x="276" y="297"/>
                      <a:pt x="271" y="291"/>
                      <a:pt x="266" y="284"/>
                    </a:cubicBezTo>
                    <a:lnTo>
                      <a:pt x="250" y="256"/>
                    </a:lnTo>
                    <a:lnTo>
                      <a:pt x="246" y="223"/>
                    </a:lnTo>
                    <a:lnTo>
                      <a:pt x="249" y="194"/>
                    </a:lnTo>
                    <a:lnTo>
                      <a:pt x="263" y="161"/>
                    </a:lnTo>
                    <a:lnTo>
                      <a:pt x="280" y="143"/>
                    </a:lnTo>
                    <a:cubicBezTo>
                      <a:pt x="286" y="139"/>
                      <a:pt x="291" y="137"/>
                      <a:pt x="298" y="136"/>
                    </a:cubicBezTo>
                    <a:cubicBezTo>
                      <a:pt x="306" y="135"/>
                      <a:pt x="320" y="160"/>
                      <a:pt x="324" y="138"/>
                    </a:cubicBezTo>
                    <a:lnTo>
                      <a:pt x="324" y="0"/>
                    </a:lnTo>
                    <a:lnTo>
                      <a:pt x="197" y="1"/>
                    </a:lnTo>
                    <a:cubicBezTo>
                      <a:pt x="175" y="7"/>
                      <a:pt x="194" y="25"/>
                      <a:pt x="192" y="34"/>
                    </a:cubicBezTo>
                    <a:cubicBezTo>
                      <a:pt x="189" y="44"/>
                      <a:pt x="188" y="50"/>
                      <a:pt x="183" y="57"/>
                    </a:cubicBezTo>
                    <a:lnTo>
                      <a:pt x="161" y="77"/>
                    </a:lnTo>
                    <a:lnTo>
                      <a:pt x="138" y="87"/>
                    </a:lnTo>
                    <a:lnTo>
                      <a:pt x="110" y="89"/>
                    </a:lnTo>
                    <a:lnTo>
                      <a:pt x="78" y="70"/>
                    </a:lnTo>
                    <a:lnTo>
                      <a:pt x="64" y="51"/>
                    </a:lnTo>
                    <a:cubicBezTo>
                      <a:pt x="60" y="44"/>
                      <a:pt x="59" y="32"/>
                      <a:pt x="56" y="24"/>
                    </a:cubicBezTo>
                    <a:cubicBezTo>
                      <a:pt x="54" y="17"/>
                      <a:pt x="54" y="6"/>
                      <a:pt x="45" y="2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16"/>
              <p:cNvSpPr>
                <a:spLocks/>
              </p:cNvSpPr>
              <p:nvPr/>
            </p:nvSpPr>
            <p:spPr bwMode="auto">
              <a:xfrm>
                <a:off x="4962" y="3567"/>
                <a:ext cx="362" cy="441"/>
              </a:xfrm>
              <a:custGeom>
                <a:avLst/>
                <a:gdLst/>
                <a:ahLst/>
                <a:cxnLst>
                  <a:cxn ang="0">
                    <a:pos x="362" y="2"/>
                  </a:cxn>
                  <a:cxn ang="0">
                    <a:pos x="267" y="439"/>
                  </a:cxn>
                  <a:cxn ang="0">
                    <a:pos x="0" y="441"/>
                  </a:cxn>
                  <a:cxn ang="0">
                    <a:pos x="0" y="307"/>
                  </a:cxn>
                  <a:cxn ang="0">
                    <a:pos x="24" y="307"/>
                  </a:cxn>
                  <a:cxn ang="0">
                    <a:pos x="57" y="290"/>
                  </a:cxn>
                  <a:cxn ang="0">
                    <a:pos x="73" y="257"/>
                  </a:cxn>
                  <a:cxn ang="0">
                    <a:pos x="78" y="231"/>
                  </a:cxn>
                  <a:cxn ang="0">
                    <a:pos x="76" y="202"/>
                  </a:cxn>
                  <a:cxn ang="0">
                    <a:pos x="68" y="172"/>
                  </a:cxn>
                  <a:cxn ang="0">
                    <a:pos x="51" y="151"/>
                  </a:cxn>
                  <a:cxn ang="0">
                    <a:pos x="26" y="140"/>
                  </a:cxn>
                  <a:cxn ang="0">
                    <a:pos x="2" y="146"/>
                  </a:cxn>
                  <a:cxn ang="0">
                    <a:pos x="1" y="0"/>
                  </a:cxn>
                  <a:cxn ang="0">
                    <a:pos x="119" y="1"/>
                  </a:cxn>
                  <a:cxn ang="0">
                    <a:pos x="122" y="23"/>
                  </a:cxn>
                  <a:cxn ang="0">
                    <a:pos x="123" y="44"/>
                  </a:cxn>
                  <a:cxn ang="0">
                    <a:pos x="134" y="63"/>
                  </a:cxn>
                  <a:cxn ang="0">
                    <a:pos x="150" y="80"/>
                  </a:cxn>
                  <a:cxn ang="0">
                    <a:pos x="176" y="89"/>
                  </a:cxn>
                  <a:cxn ang="0">
                    <a:pos x="200" y="89"/>
                  </a:cxn>
                  <a:cxn ang="0">
                    <a:pos x="227" y="82"/>
                  </a:cxn>
                  <a:cxn ang="0">
                    <a:pos x="248" y="65"/>
                  </a:cxn>
                  <a:cxn ang="0">
                    <a:pos x="257" y="46"/>
                  </a:cxn>
                  <a:cxn ang="0">
                    <a:pos x="263" y="32"/>
                  </a:cxn>
                  <a:cxn ang="0">
                    <a:pos x="261" y="18"/>
                  </a:cxn>
                  <a:cxn ang="0">
                    <a:pos x="260" y="2"/>
                  </a:cxn>
                  <a:cxn ang="0">
                    <a:pos x="362" y="2"/>
                  </a:cxn>
                </a:cxnLst>
                <a:rect l="0" t="0" r="r" b="b"/>
                <a:pathLst>
                  <a:path w="362" h="441">
                    <a:moveTo>
                      <a:pt x="362" y="2"/>
                    </a:moveTo>
                    <a:lnTo>
                      <a:pt x="267" y="439"/>
                    </a:lnTo>
                    <a:lnTo>
                      <a:pt x="0" y="441"/>
                    </a:lnTo>
                    <a:lnTo>
                      <a:pt x="0" y="307"/>
                    </a:lnTo>
                    <a:cubicBezTo>
                      <a:pt x="4" y="285"/>
                      <a:pt x="15" y="310"/>
                      <a:pt x="24" y="307"/>
                    </a:cubicBezTo>
                    <a:cubicBezTo>
                      <a:pt x="33" y="305"/>
                      <a:pt x="48" y="299"/>
                      <a:pt x="57" y="290"/>
                    </a:cubicBezTo>
                    <a:lnTo>
                      <a:pt x="73" y="257"/>
                    </a:lnTo>
                    <a:lnTo>
                      <a:pt x="78" y="231"/>
                    </a:lnTo>
                    <a:lnTo>
                      <a:pt x="76" y="202"/>
                    </a:lnTo>
                    <a:lnTo>
                      <a:pt x="68" y="172"/>
                    </a:lnTo>
                    <a:cubicBezTo>
                      <a:pt x="64" y="164"/>
                      <a:pt x="58" y="156"/>
                      <a:pt x="51" y="151"/>
                    </a:cubicBezTo>
                    <a:cubicBezTo>
                      <a:pt x="45" y="147"/>
                      <a:pt x="34" y="141"/>
                      <a:pt x="26" y="140"/>
                    </a:cubicBezTo>
                    <a:cubicBezTo>
                      <a:pt x="18" y="138"/>
                      <a:pt x="6" y="169"/>
                      <a:pt x="2" y="146"/>
                    </a:cubicBezTo>
                    <a:lnTo>
                      <a:pt x="1" y="0"/>
                    </a:lnTo>
                    <a:lnTo>
                      <a:pt x="119" y="1"/>
                    </a:lnTo>
                    <a:cubicBezTo>
                      <a:pt x="140" y="4"/>
                      <a:pt x="121" y="16"/>
                      <a:pt x="122" y="23"/>
                    </a:cubicBezTo>
                    <a:cubicBezTo>
                      <a:pt x="121" y="28"/>
                      <a:pt x="122" y="40"/>
                      <a:pt x="123" y="44"/>
                    </a:cubicBezTo>
                    <a:lnTo>
                      <a:pt x="134" y="63"/>
                    </a:lnTo>
                    <a:lnTo>
                      <a:pt x="150" y="80"/>
                    </a:lnTo>
                    <a:lnTo>
                      <a:pt x="176" y="89"/>
                    </a:lnTo>
                    <a:lnTo>
                      <a:pt x="200" y="89"/>
                    </a:lnTo>
                    <a:lnTo>
                      <a:pt x="227" y="82"/>
                    </a:lnTo>
                    <a:lnTo>
                      <a:pt x="248" y="65"/>
                    </a:lnTo>
                    <a:lnTo>
                      <a:pt x="257" y="46"/>
                    </a:lnTo>
                    <a:lnTo>
                      <a:pt x="263" y="32"/>
                    </a:lnTo>
                    <a:cubicBezTo>
                      <a:pt x="263" y="27"/>
                      <a:pt x="262" y="22"/>
                      <a:pt x="261" y="18"/>
                    </a:cubicBezTo>
                    <a:cubicBezTo>
                      <a:pt x="261" y="14"/>
                      <a:pt x="237" y="5"/>
                      <a:pt x="260" y="2"/>
                    </a:cubicBezTo>
                    <a:lnTo>
                      <a:pt x="362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2" name="TextBox 41"/>
            <p:cNvSpPr txBox="1"/>
            <p:nvPr/>
          </p:nvSpPr>
          <p:spPr>
            <a:xfrm>
              <a:off x="2610396" y="1926906"/>
              <a:ext cx="3312368" cy="134966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185648" indent="-185648" algn="r" defTabSz="1018644" rtl="1">
                <a:spcAft>
                  <a:spcPts val="400"/>
                </a:spcAft>
                <a:buSzPct val="75000"/>
                <a:buFont typeface="Wingdings" pitchFamily="2" charset="2"/>
                <a:buChar char="§"/>
              </a:pPr>
              <a:r>
                <a:rPr lang="ar-AE" sz="1400" dirty="0" smtClean="0">
                  <a:solidFill>
                    <a:prstClr val="black"/>
                  </a:solidFill>
                </a:rPr>
                <a:t> أنظمة التعلّم الإلكتروني الأساسية الخاصة بالمقررات الإلكترونية المفتوحة ذات ال</a:t>
              </a:r>
              <a:r>
                <a:rPr lang="ar-SA" sz="1400" dirty="0" smtClean="0">
                  <a:solidFill>
                    <a:prstClr val="black"/>
                  </a:solidFill>
                </a:rPr>
                <a:t>سعة العالية</a:t>
              </a:r>
              <a:r>
                <a:rPr lang="ar-AE" sz="1400" dirty="0" smtClean="0">
                  <a:solidFill>
                    <a:prstClr val="black"/>
                  </a:solidFill>
                </a:rPr>
                <a:t> </a:t>
              </a:r>
              <a:r>
                <a:rPr lang="en-US" sz="1400" dirty="0" smtClean="0">
                  <a:solidFill>
                    <a:prstClr val="black"/>
                  </a:solidFill>
                </a:rPr>
                <a:t>MOOC </a:t>
              </a:r>
              <a:r>
                <a:rPr lang="ar-AE" sz="1400" dirty="0" smtClean="0">
                  <a:solidFill>
                    <a:prstClr val="black"/>
                  </a:solidFill>
                </a:rPr>
                <a:t> (أكاديمية خان، كورسيرا)</a:t>
              </a:r>
            </a:p>
            <a:p>
              <a:pPr marL="185648" indent="-185648" algn="r" defTabSz="1018644" rtl="1">
                <a:spcAft>
                  <a:spcPts val="400"/>
                </a:spcAft>
                <a:buSzPct val="75000"/>
                <a:buFont typeface="Wingdings" pitchFamily="2" charset="2"/>
                <a:buChar char="§"/>
              </a:pPr>
              <a:r>
                <a:rPr lang="ar-AE" sz="1400" dirty="0" smtClean="0">
                  <a:solidFill>
                    <a:prstClr val="black"/>
                  </a:solidFill>
                </a:rPr>
                <a:t>استخدام آليات اللعب وتقنيات الإعلام لإشراك المتعلمين الإلكترونيين </a:t>
              </a:r>
              <a:endParaRPr lang="en-US" sz="1400" dirty="0" smtClean="0">
                <a:solidFill>
                  <a:prstClr val="black"/>
                </a:solidFill>
              </a:endParaRPr>
            </a:p>
            <a:p>
              <a:pPr marL="185648" indent="-185648" algn="r" defTabSz="1018644" rtl="1">
                <a:spcAft>
                  <a:spcPts val="400"/>
                </a:spcAft>
                <a:buSzPct val="75000"/>
                <a:buFont typeface="Wingdings" pitchFamily="2" charset="2"/>
                <a:buChar char="§"/>
              </a:pPr>
              <a:r>
                <a:rPr lang="ar-AE" sz="1400" dirty="0" smtClean="0">
                  <a:solidFill>
                    <a:prstClr val="black"/>
                  </a:solidFill>
                </a:rPr>
                <a:t>تساعد التكنولوجيا اللاسلكية على ”</a:t>
              </a:r>
              <a:r>
                <a:rPr lang="ar-SA" sz="1400" dirty="0" smtClean="0">
                  <a:solidFill>
                    <a:prstClr val="black"/>
                  </a:solidFill>
                </a:rPr>
                <a:t>فصل </a:t>
              </a:r>
              <a:r>
                <a:rPr lang="ar-AE" sz="1400" dirty="0" smtClean="0">
                  <a:solidFill>
                    <a:prstClr val="black"/>
                  </a:solidFill>
                </a:rPr>
                <a:t>الا</a:t>
              </a:r>
              <a:r>
                <a:rPr lang="ar-SA" sz="1400" dirty="0" smtClean="0">
                  <a:solidFill>
                    <a:prstClr val="black"/>
                  </a:solidFill>
                </a:rPr>
                <a:t>رتبا</a:t>
              </a:r>
              <a:r>
                <a:rPr lang="ar-AE" sz="1400" dirty="0" smtClean="0">
                  <a:solidFill>
                    <a:prstClr val="black"/>
                  </a:solidFill>
                </a:rPr>
                <a:t>ط</a:t>
              </a:r>
              <a:r>
                <a:rPr lang="ar-SA" sz="1400" dirty="0" smtClean="0">
                  <a:solidFill>
                    <a:prstClr val="black"/>
                  </a:solidFill>
                </a:rPr>
                <a:t>  بمكان معين</a:t>
              </a:r>
              <a:r>
                <a:rPr lang="ar-AE" sz="1400" dirty="0" smtClean="0">
                  <a:solidFill>
                    <a:prstClr val="black"/>
                  </a:solidFill>
                </a:rPr>
                <a:t>“</a:t>
              </a:r>
              <a:r>
                <a:rPr lang="ar-SA" sz="1400" dirty="0" smtClean="0">
                  <a:solidFill>
                    <a:prstClr val="black"/>
                  </a:solidFill>
                </a:rPr>
                <a:t> </a:t>
              </a:r>
              <a:endParaRPr lang="en-US" sz="1400" dirty="0" smtClean="0">
                <a:solidFill>
                  <a:prstClr val="black"/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2682404" y="3780631"/>
              <a:ext cx="3168352" cy="134966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185648" indent="-185648" algn="r" defTabSz="1018644" rtl="1">
                <a:spcAft>
                  <a:spcPts val="1003"/>
                </a:spcAft>
                <a:buSzPct val="75000"/>
                <a:buFont typeface="Wingdings" pitchFamily="2" charset="2"/>
                <a:buChar char="§"/>
              </a:pPr>
              <a:r>
                <a:rPr lang="ar-AE" sz="1400" dirty="0" smtClean="0">
                  <a:solidFill>
                    <a:prstClr val="black"/>
                  </a:solidFill>
                </a:rPr>
                <a:t>يخفف التعلّم الإلكتروني من تكلفة ال</a:t>
              </a:r>
              <a:r>
                <a:rPr lang="ar-SA" sz="1400" dirty="0" smtClean="0">
                  <a:solidFill>
                    <a:prstClr val="black"/>
                  </a:solidFill>
                </a:rPr>
                <a:t>محتوى</a:t>
              </a:r>
              <a:r>
                <a:rPr lang="ar-AE" sz="1400" dirty="0" smtClean="0">
                  <a:solidFill>
                    <a:prstClr val="black"/>
                  </a:solidFill>
                </a:rPr>
                <a:t> </a:t>
              </a:r>
              <a:r>
                <a:rPr lang="ar-SA" sz="1400" dirty="0" smtClean="0">
                  <a:solidFill>
                    <a:prstClr val="black"/>
                  </a:solidFill>
                </a:rPr>
                <a:t>عالي</a:t>
              </a:r>
              <a:r>
                <a:rPr lang="ar-AE" sz="1400" dirty="0" smtClean="0">
                  <a:solidFill>
                    <a:prstClr val="black"/>
                  </a:solidFill>
                </a:rPr>
                <a:t> الجودة </a:t>
              </a:r>
            </a:p>
            <a:p>
              <a:pPr marL="185648" indent="-185648" algn="r" defTabSz="1018644" rtl="1">
                <a:spcAft>
                  <a:spcPts val="1003"/>
                </a:spcAft>
                <a:buSzPct val="75000"/>
                <a:buFont typeface="Wingdings" pitchFamily="2" charset="2"/>
                <a:buChar char="§"/>
              </a:pPr>
              <a:r>
                <a:rPr lang="ar-AE" sz="1400" dirty="0" smtClean="0">
                  <a:solidFill>
                    <a:prstClr val="black"/>
                  </a:solidFill>
                </a:rPr>
                <a:t> استخدام التعلّم المزدوج للجمع بين التعلّم وجهاً لوجه والتعلّم على الشبكة </a:t>
              </a:r>
              <a:endParaRPr lang="en-US" sz="1400" dirty="0" smtClean="0">
                <a:solidFill>
                  <a:prstClr val="black"/>
                </a:solidFill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2610395" y="5220791"/>
              <a:ext cx="3240361" cy="1728192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185648" indent="-185648" algn="r" defTabSz="1018644" rtl="1">
                <a:spcAft>
                  <a:spcPts val="1003"/>
                </a:spcAft>
                <a:buSzPct val="75000"/>
                <a:buFont typeface="Wingdings" pitchFamily="2" charset="2"/>
                <a:buChar char="§"/>
              </a:pPr>
              <a:r>
                <a:rPr lang="ar-AE" sz="1400" dirty="0" smtClean="0">
                  <a:solidFill>
                    <a:prstClr val="black"/>
                  </a:solidFill>
                </a:rPr>
                <a:t>مجموعة المهارات الجديدة في الاقتصاد العالمي تتطلب </a:t>
              </a:r>
              <a:r>
                <a:rPr lang="ar-SA" sz="1400" dirty="0" smtClean="0">
                  <a:solidFill>
                    <a:prstClr val="black"/>
                  </a:solidFill>
                </a:rPr>
                <a:t>مناهج وطرق</a:t>
              </a:r>
              <a:r>
                <a:rPr lang="ar-AE" sz="1400" dirty="0" smtClean="0">
                  <a:solidFill>
                    <a:prstClr val="black"/>
                  </a:solidFill>
                </a:rPr>
                <a:t> تعلّم إلكتروني للتطوير المستمر للقوة </a:t>
              </a:r>
              <a:r>
                <a:rPr lang="ar-AE" sz="1400" dirty="0" err="1" smtClean="0">
                  <a:solidFill>
                    <a:prstClr val="black"/>
                  </a:solidFill>
                </a:rPr>
                <a:t>العا</a:t>
              </a:r>
              <a:r>
                <a:rPr lang="ar-SA" sz="1400" dirty="0" smtClean="0">
                  <a:solidFill>
                    <a:prstClr val="black"/>
                  </a:solidFill>
                </a:rPr>
                <a:t>مل</a:t>
              </a:r>
              <a:r>
                <a:rPr lang="ar-AE" sz="1400" dirty="0" smtClean="0">
                  <a:solidFill>
                    <a:prstClr val="black"/>
                  </a:solidFill>
                </a:rPr>
                <a:t>ة </a:t>
              </a:r>
              <a:endParaRPr lang="en-US" sz="1400" dirty="0" smtClean="0">
                <a:solidFill>
                  <a:prstClr val="black"/>
                </a:solidFill>
              </a:endParaRPr>
            </a:p>
            <a:p>
              <a:pPr marL="185648" indent="-185648" algn="r" defTabSz="1018644" rtl="1">
                <a:spcAft>
                  <a:spcPts val="1003"/>
                </a:spcAft>
                <a:buSzPct val="75000"/>
                <a:buFont typeface="Wingdings" pitchFamily="2" charset="2"/>
                <a:buChar char="§"/>
              </a:pPr>
              <a:r>
                <a:rPr lang="ar-AE" sz="1400" dirty="0" smtClean="0">
                  <a:solidFill>
                    <a:prstClr val="black"/>
                  </a:solidFill>
                </a:rPr>
                <a:t>التعلّم الإلكتروني أساسي لإعداة تأهيل وتعزيز مهارات القوة العاملة في سوق عمل عالمية متغيرة </a:t>
              </a:r>
              <a:endParaRPr lang="en-US" sz="1400" dirty="0" smtClean="0">
                <a:solidFill>
                  <a:prstClr val="black"/>
                </a:solidFill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7794972" y="1980431"/>
              <a:ext cx="2780284" cy="1190882"/>
            </a:xfrm>
            <a:prstGeom prst="rect">
              <a:avLst/>
            </a:prstGeom>
            <a:noFill/>
          </p:spPr>
          <p:txBody>
            <a:bodyPr vert="horz" wrap="square" lIns="0" tIns="50929" rIns="0" bIns="50929" rtlCol="0">
              <a:noAutofit/>
            </a:bodyPr>
            <a:lstStyle/>
            <a:p>
              <a:pPr marL="185648" indent="-185648" algn="r" defTabSz="1018644" rtl="1">
                <a:spcAft>
                  <a:spcPts val="500"/>
                </a:spcAft>
                <a:buSzPct val="75000"/>
                <a:buFont typeface="Wingdings" pitchFamily="2" charset="2"/>
                <a:buChar char="§"/>
              </a:pPr>
              <a:r>
                <a:rPr lang="ar-AE" sz="1400" dirty="0" smtClean="0">
                  <a:solidFill>
                    <a:prstClr val="black"/>
                  </a:solidFill>
                </a:rPr>
                <a:t>وضع هيكل المقررات ”بحجم البايت“</a:t>
              </a:r>
            </a:p>
            <a:p>
              <a:pPr marL="185648" indent="-185648" algn="r" defTabSz="1018644" rtl="1">
                <a:spcAft>
                  <a:spcPts val="500"/>
                </a:spcAft>
                <a:buSzPct val="75000"/>
                <a:buFont typeface="Wingdings" pitchFamily="2" charset="2"/>
                <a:buChar char="§"/>
              </a:pPr>
              <a:r>
                <a:rPr lang="ar-AE" sz="1400" dirty="0" smtClean="0">
                  <a:solidFill>
                    <a:prstClr val="black"/>
                  </a:solidFill>
                </a:rPr>
                <a:t>الت</a:t>
              </a:r>
              <a:r>
                <a:rPr lang="ar-SA" sz="1400" dirty="0" err="1" smtClean="0">
                  <a:solidFill>
                    <a:prstClr val="black"/>
                  </a:solidFill>
                </a:rPr>
                <a:t>ركيز</a:t>
              </a:r>
              <a:r>
                <a:rPr lang="ar-AE" sz="1400" dirty="0" smtClean="0">
                  <a:solidFill>
                    <a:prstClr val="black"/>
                  </a:solidFill>
                </a:rPr>
                <a:t> على التفاعل (التعلّم في نهاية الأسبوع)</a:t>
              </a:r>
            </a:p>
            <a:p>
              <a:pPr marL="185648" indent="-185648" algn="r" defTabSz="1018644" rtl="1">
                <a:spcAft>
                  <a:spcPts val="500"/>
                </a:spcAft>
                <a:buSzPct val="75000"/>
                <a:buFont typeface="Wingdings" pitchFamily="2" charset="2"/>
                <a:buChar char="§"/>
              </a:pPr>
              <a:r>
                <a:rPr lang="ar-AE" sz="1400" dirty="0" smtClean="0">
                  <a:solidFill>
                    <a:prstClr val="black"/>
                  </a:solidFill>
                </a:rPr>
                <a:t>استخدام أنواع متعددة من التقييم لتشجيع التعلّم بالافعال </a:t>
              </a:r>
              <a:endParaRPr lang="en-US" sz="1400" dirty="0" smtClean="0">
                <a:solidFill>
                  <a:prstClr val="black"/>
                </a:solidFill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8564809" y="3493760"/>
              <a:ext cx="1978326" cy="134966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185648" indent="-185648" defTabSz="1018644">
                <a:spcAft>
                  <a:spcPts val="1003"/>
                </a:spcAft>
                <a:buSzPct val="75000"/>
                <a:buFont typeface="Wingdings" pitchFamily="2" charset="2"/>
                <a:buChar char="§"/>
              </a:pPr>
              <a:endParaRPr lang="en-US" sz="16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7794972" y="5488189"/>
              <a:ext cx="2502078" cy="813304"/>
            </a:xfrm>
            <a:prstGeom prst="rect">
              <a:avLst/>
            </a:prstGeom>
          </p:spPr>
          <p:txBody>
            <a:bodyPr wrap="square" lIns="0" tIns="50929" rIns="0" bIns="50929">
              <a:spAutoFit/>
            </a:bodyPr>
            <a:lstStyle/>
            <a:p>
              <a:pPr marL="185648" indent="-185648" algn="r" defTabSz="1018644" rtl="1">
                <a:spcAft>
                  <a:spcPts val="500"/>
                </a:spcAft>
                <a:buSzPct val="75000"/>
                <a:buFont typeface="Wingdings" pitchFamily="2" charset="2"/>
                <a:buChar char="§"/>
              </a:pPr>
              <a:r>
                <a:rPr lang="ar-AE" sz="1400" dirty="0" smtClean="0">
                  <a:solidFill>
                    <a:prstClr val="black"/>
                  </a:solidFill>
                </a:rPr>
                <a:t>إنشاء مجتمع ممارسات مشتركة حيث يمكن التواصل وتبادل المعرفة</a:t>
              </a:r>
              <a:endParaRPr lang="en-US" sz="1400" dirty="0" smtClean="0">
                <a:solidFill>
                  <a:prstClr val="black"/>
                </a:solidFill>
              </a:endParaRPr>
            </a:p>
            <a:p>
              <a:pPr marL="185648" indent="-185648" algn="r" defTabSz="1018644" rtl="1">
                <a:spcAft>
                  <a:spcPts val="500"/>
                </a:spcAft>
                <a:buSzPct val="75000"/>
                <a:buFont typeface="Wingdings" pitchFamily="2" charset="2"/>
                <a:buChar char="§"/>
              </a:pPr>
              <a:r>
                <a:rPr lang="ar-AE" sz="1400" dirty="0" smtClean="0">
                  <a:solidFill>
                    <a:prstClr val="black"/>
                  </a:solidFill>
                </a:rPr>
                <a:t>استخدام قنوات المواقع الاجتماعية</a:t>
              </a:r>
              <a:endParaRPr lang="en-US" sz="1400" dirty="0" smtClean="0">
                <a:solidFill>
                  <a:prstClr val="black"/>
                </a:solidFill>
              </a:endParaRPr>
            </a:p>
          </p:txBody>
        </p:sp>
        <p:grpSp>
          <p:nvGrpSpPr>
            <p:cNvPr id="3" name="Group 16"/>
            <p:cNvGrpSpPr/>
            <p:nvPr/>
          </p:nvGrpSpPr>
          <p:grpSpPr>
            <a:xfrm rot="5400000">
              <a:off x="581255" y="3287122"/>
              <a:ext cx="1874578" cy="2280792"/>
              <a:chOff x="2808376" y="2943647"/>
              <a:chExt cx="3228749" cy="2632822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26" name="Freeform 12"/>
              <p:cNvSpPr>
                <a:spLocks/>
              </p:cNvSpPr>
              <p:nvPr/>
            </p:nvSpPr>
            <p:spPr bwMode="auto">
              <a:xfrm rot="16200000">
                <a:off x="3553764" y="2198259"/>
                <a:ext cx="1737974" cy="3228749"/>
              </a:xfrm>
              <a:custGeom>
                <a:avLst/>
                <a:gdLst/>
                <a:ahLst/>
                <a:cxnLst>
                  <a:cxn ang="0">
                    <a:pos x="437" y="532"/>
                  </a:cxn>
                  <a:cxn ang="0">
                    <a:pos x="468" y="374"/>
                  </a:cxn>
                  <a:cxn ang="0">
                    <a:pos x="423" y="94"/>
                  </a:cxn>
                  <a:cxn ang="0">
                    <a:pos x="352" y="94"/>
                  </a:cxn>
                  <a:cxn ang="0">
                    <a:pos x="351" y="66"/>
                  </a:cxn>
                  <a:cxn ang="0">
                    <a:pos x="341" y="33"/>
                  </a:cxn>
                  <a:cxn ang="0">
                    <a:pos x="323" y="17"/>
                  </a:cxn>
                  <a:cxn ang="0">
                    <a:pos x="303" y="5"/>
                  </a:cxn>
                  <a:cxn ang="0">
                    <a:pos x="275" y="0"/>
                  </a:cxn>
                  <a:cxn ang="0">
                    <a:pos x="251" y="2"/>
                  </a:cxn>
                  <a:cxn ang="0">
                    <a:pos x="231" y="15"/>
                  </a:cxn>
                  <a:cxn ang="0">
                    <a:pos x="213" y="33"/>
                  </a:cxn>
                  <a:cxn ang="0">
                    <a:pos x="206" y="62"/>
                  </a:cxn>
                  <a:cxn ang="0">
                    <a:pos x="195" y="92"/>
                  </a:cxn>
                  <a:cxn ang="0">
                    <a:pos x="78" y="91"/>
                  </a:cxn>
                  <a:cxn ang="0">
                    <a:pos x="78" y="231"/>
                  </a:cxn>
                  <a:cxn ang="0">
                    <a:pos x="54" y="225"/>
                  </a:cxn>
                  <a:cxn ang="0">
                    <a:pos x="36" y="231"/>
                  </a:cxn>
                  <a:cxn ang="0">
                    <a:pos x="18" y="249"/>
                  </a:cxn>
                  <a:cxn ang="0">
                    <a:pos x="7" y="272"/>
                  </a:cxn>
                  <a:cxn ang="0">
                    <a:pos x="0" y="299"/>
                  </a:cxn>
                  <a:cxn ang="0">
                    <a:pos x="0" y="323"/>
                  </a:cxn>
                  <a:cxn ang="0">
                    <a:pos x="9" y="356"/>
                  </a:cxn>
                  <a:cxn ang="0">
                    <a:pos x="21" y="374"/>
                  </a:cxn>
                  <a:cxn ang="0">
                    <a:pos x="36" y="393"/>
                  </a:cxn>
                  <a:cxn ang="0">
                    <a:pos x="62" y="395"/>
                  </a:cxn>
                  <a:cxn ang="0">
                    <a:pos x="77" y="392"/>
                  </a:cxn>
                  <a:cxn ang="0">
                    <a:pos x="77" y="530"/>
                  </a:cxn>
                  <a:cxn ang="0">
                    <a:pos x="195" y="530"/>
                  </a:cxn>
                  <a:cxn ang="0">
                    <a:pos x="196" y="552"/>
                  </a:cxn>
                  <a:cxn ang="0">
                    <a:pos x="201" y="581"/>
                  </a:cxn>
                  <a:cxn ang="0">
                    <a:pos x="216" y="600"/>
                  </a:cxn>
                  <a:cxn ang="0">
                    <a:pos x="234" y="614"/>
                  </a:cxn>
                  <a:cxn ang="0">
                    <a:pos x="260" y="617"/>
                  </a:cxn>
                  <a:cxn ang="0">
                    <a:pos x="284" y="615"/>
                  </a:cxn>
                  <a:cxn ang="0">
                    <a:pos x="308" y="608"/>
                  </a:cxn>
                  <a:cxn ang="0">
                    <a:pos x="326" y="593"/>
                  </a:cxn>
                  <a:cxn ang="0">
                    <a:pos x="336" y="575"/>
                  </a:cxn>
                  <a:cxn ang="0">
                    <a:pos x="338" y="548"/>
                  </a:cxn>
                  <a:cxn ang="0">
                    <a:pos x="339" y="529"/>
                  </a:cxn>
                  <a:cxn ang="0">
                    <a:pos x="437" y="532"/>
                  </a:cxn>
                </a:cxnLst>
                <a:rect l="0" t="0" r="r" b="b"/>
                <a:pathLst>
                  <a:path w="468" h="617">
                    <a:moveTo>
                      <a:pt x="437" y="532"/>
                    </a:moveTo>
                    <a:lnTo>
                      <a:pt x="468" y="374"/>
                    </a:lnTo>
                    <a:lnTo>
                      <a:pt x="423" y="94"/>
                    </a:lnTo>
                    <a:lnTo>
                      <a:pt x="352" y="94"/>
                    </a:lnTo>
                    <a:cubicBezTo>
                      <a:pt x="340" y="89"/>
                      <a:pt x="353" y="76"/>
                      <a:pt x="351" y="66"/>
                    </a:cubicBezTo>
                    <a:cubicBezTo>
                      <a:pt x="349" y="56"/>
                      <a:pt x="346" y="41"/>
                      <a:pt x="341" y="33"/>
                    </a:cubicBezTo>
                    <a:lnTo>
                      <a:pt x="323" y="17"/>
                    </a:lnTo>
                    <a:lnTo>
                      <a:pt x="303" y="5"/>
                    </a:lnTo>
                    <a:lnTo>
                      <a:pt x="275" y="0"/>
                    </a:lnTo>
                    <a:lnTo>
                      <a:pt x="251" y="2"/>
                    </a:lnTo>
                    <a:lnTo>
                      <a:pt x="231" y="15"/>
                    </a:lnTo>
                    <a:lnTo>
                      <a:pt x="213" y="33"/>
                    </a:lnTo>
                    <a:cubicBezTo>
                      <a:pt x="209" y="40"/>
                      <a:pt x="209" y="52"/>
                      <a:pt x="206" y="62"/>
                    </a:cubicBezTo>
                    <a:cubicBezTo>
                      <a:pt x="204" y="70"/>
                      <a:pt x="216" y="87"/>
                      <a:pt x="195" y="92"/>
                    </a:cubicBezTo>
                    <a:lnTo>
                      <a:pt x="78" y="91"/>
                    </a:lnTo>
                    <a:lnTo>
                      <a:pt x="78" y="231"/>
                    </a:lnTo>
                    <a:cubicBezTo>
                      <a:pt x="74" y="253"/>
                      <a:pt x="61" y="225"/>
                      <a:pt x="54" y="225"/>
                    </a:cubicBezTo>
                    <a:cubicBezTo>
                      <a:pt x="47" y="225"/>
                      <a:pt x="42" y="228"/>
                      <a:pt x="36" y="231"/>
                    </a:cubicBezTo>
                    <a:lnTo>
                      <a:pt x="18" y="249"/>
                    </a:lnTo>
                    <a:lnTo>
                      <a:pt x="7" y="272"/>
                    </a:lnTo>
                    <a:lnTo>
                      <a:pt x="0" y="299"/>
                    </a:lnTo>
                    <a:lnTo>
                      <a:pt x="0" y="323"/>
                    </a:lnTo>
                    <a:lnTo>
                      <a:pt x="9" y="356"/>
                    </a:lnTo>
                    <a:lnTo>
                      <a:pt x="21" y="374"/>
                    </a:lnTo>
                    <a:lnTo>
                      <a:pt x="36" y="393"/>
                    </a:lnTo>
                    <a:cubicBezTo>
                      <a:pt x="43" y="396"/>
                      <a:pt x="55" y="395"/>
                      <a:pt x="62" y="395"/>
                    </a:cubicBezTo>
                    <a:cubicBezTo>
                      <a:pt x="68" y="395"/>
                      <a:pt x="74" y="369"/>
                      <a:pt x="77" y="392"/>
                    </a:cubicBezTo>
                    <a:lnTo>
                      <a:pt x="77" y="530"/>
                    </a:lnTo>
                    <a:lnTo>
                      <a:pt x="195" y="530"/>
                    </a:lnTo>
                    <a:cubicBezTo>
                      <a:pt x="215" y="534"/>
                      <a:pt x="195" y="544"/>
                      <a:pt x="196" y="552"/>
                    </a:cubicBezTo>
                    <a:cubicBezTo>
                      <a:pt x="198" y="560"/>
                      <a:pt x="197" y="573"/>
                      <a:pt x="201" y="581"/>
                    </a:cubicBezTo>
                    <a:lnTo>
                      <a:pt x="216" y="600"/>
                    </a:lnTo>
                    <a:lnTo>
                      <a:pt x="234" y="614"/>
                    </a:lnTo>
                    <a:lnTo>
                      <a:pt x="260" y="617"/>
                    </a:lnTo>
                    <a:lnTo>
                      <a:pt x="284" y="615"/>
                    </a:lnTo>
                    <a:lnTo>
                      <a:pt x="308" y="608"/>
                    </a:lnTo>
                    <a:lnTo>
                      <a:pt x="326" y="593"/>
                    </a:lnTo>
                    <a:lnTo>
                      <a:pt x="336" y="575"/>
                    </a:lnTo>
                    <a:cubicBezTo>
                      <a:pt x="338" y="568"/>
                      <a:pt x="337" y="556"/>
                      <a:pt x="338" y="548"/>
                    </a:cubicBezTo>
                    <a:cubicBezTo>
                      <a:pt x="339" y="541"/>
                      <a:pt x="316" y="532"/>
                      <a:pt x="339" y="529"/>
                    </a:cubicBezTo>
                    <a:lnTo>
                      <a:pt x="437" y="5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15"/>
              <p:cNvSpPr>
                <a:spLocks/>
              </p:cNvSpPr>
              <p:nvPr/>
            </p:nvSpPr>
            <p:spPr bwMode="auto">
              <a:xfrm rot="16200000">
                <a:off x="3844693" y="3807908"/>
                <a:ext cx="1203213" cy="2333910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51" y="247"/>
                  </a:cxn>
                  <a:cxn ang="0">
                    <a:pos x="8" y="445"/>
                  </a:cxn>
                  <a:cxn ang="0">
                    <a:pos x="47" y="446"/>
                  </a:cxn>
                  <a:cxn ang="0">
                    <a:pos x="53" y="424"/>
                  </a:cxn>
                  <a:cxn ang="0">
                    <a:pos x="56" y="405"/>
                  </a:cxn>
                  <a:cxn ang="0">
                    <a:pos x="65" y="386"/>
                  </a:cxn>
                  <a:cxn ang="0">
                    <a:pos x="86" y="371"/>
                  </a:cxn>
                  <a:cxn ang="0">
                    <a:pos x="109" y="365"/>
                  </a:cxn>
                  <a:cxn ang="0">
                    <a:pos x="134" y="366"/>
                  </a:cxn>
                  <a:cxn ang="0">
                    <a:pos x="154" y="376"/>
                  </a:cxn>
                  <a:cxn ang="0">
                    <a:pos x="171" y="389"/>
                  </a:cxn>
                  <a:cxn ang="0">
                    <a:pos x="182" y="417"/>
                  </a:cxn>
                  <a:cxn ang="0">
                    <a:pos x="195" y="444"/>
                  </a:cxn>
                  <a:cxn ang="0">
                    <a:pos x="323" y="443"/>
                  </a:cxn>
                  <a:cxn ang="0">
                    <a:pos x="323" y="301"/>
                  </a:cxn>
                  <a:cxn ang="0">
                    <a:pos x="304" y="306"/>
                  </a:cxn>
                  <a:cxn ang="0">
                    <a:pos x="282" y="301"/>
                  </a:cxn>
                  <a:cxn ang="0">
                    <a:pos x="266" y="284"/>
                  </a:cxn>
                  <a:cxn ang="0">
                    <a:pos x="250" y="256"/>
                  </a:cxn>
                  <a:cxn ang="0">
                    <a:pos x="246" y="223"/>
                  </a:cxn>
                  <a:cxn ang="0">
                    <a:pos x="249" y="194"/>
                  </a:cxn>
                  <a:cxn ang="0">
                    <a:pos x="263" y="161"/>
                  </a:cxn>
                  <a:cxn ang="0">
                    <a:pos x="280" y="143"/>
                  </a:cxn>
                  <a:cxn ang="0">
                    <a:pos x="298" y="136"/>
                  </a:cxn>
                  <a:cxn ang="0">
                    <a:pos x="324" y="138"/>
                  </a:cxn>
                  <a:cxn ang="0">
                    <a:pos x="324" y="0"/>
                  </a:cxn>
                  <a:cxn ang="0">
                    <a:pos x="197" y="1"/>
                  </a:cxn>
                  <a:cxn ang="0">
                    <a:pos x="192" y="34"/>
                  </a:cxn>
                  <a:cxn ang="0">
                    <a:pos x="183" y="57"/>
                  </a:cxn>
                  <a:cxn ang="0">
                    <a:pos x="161" y="77"/>
                  </a:cxn>
                  <a:cxn ang="0">
                    <a:pos x="138" y="87"/>
                  </a:cxn>
                  <a:cxn ang="0">
                    <a:pos x="110" y="89"/>
                  </a:cxn>
                  <a:cxn ang="0">
                    <a:pos x="78" y="70"/>
                  </a:cxn>
                  <a:cxn ang="0">
                    <a:pos x="64" y="51"/>
                  </a:cxn>
                  <a:cxn ang="0">
                    <a:pos x="56" y="24"/>
                  </a:cxn>
                  <a:cxn ang="0">
                    <a:pos x="45" y="2"/>
                  </a:cxn>
                  <a:cxn ang="0">
                    <a:pos x="0" y="2"/>
                  </a:cxn>
                </a:cxnLst>
                <a:rect l="0" t="0" r="r" b="b"/>
                <a:pathLst>
                  <a:path w="324" h="446">
                    <a:moveTo>
                      <a:pt x="0" y="2"/>
                    </a:moveTo>
                    <a:lnTo>
                      <a:pt x="51" y="247"/>
                    </a:lnTo>
                    <a:lnTo>
                      <a:pt x="8" y="445"/>
                    </a:lnTo>
                    <a:lnTo>
                      <a:pt x="47" y="446"/>
                    </a:lnTo>
                    <a:cubicBezTo>
                      <a:pt x="54" y="443"/>
                      <a:pt x="52" y="431"/>
                      <a:pt x="53" y="424"/>
                    </a:cubicBezTo>
                    <a:cubicBezTo>
                      <a:pt x="54" y="418"/>
                      <a:pt x="53" y="411"/>
                      <a:pt x="56" y="405"/>
                    </a:cubicBezTo>
                    <a:cubicBezTo>
                      <a:pt x="58" y="399"/>
                      <a:pt x="60" y="392"/>
                      <a:pt x="65" y="386"/>
                    </a:cubicBezTo>
                    <a:lnTo>
                      <a:pt x="86" y="371"/>
                    </a:lnTo>
                    <a:lnTo>
                      <a:pt x="109" y="365"/>
                    </a:lnTo>
                    <a:lnTo>
                      <a:pt x="134" y="366"/>
                    </a:lnTo>
                    <a:lnTo>
                      <a:pt x="154" y="376"/>
                    </a:lnTo>
                    <a:lnTo>
                      <a:pt x="171" y="389"/>
                    </a:lnTo>
                    <a:lnTo>
                      <a:pt x="182" y="417"/>
                    </a:lnTo>
                    <a:cubicBezTo>
                      <a:pt x="184" y="424"/>
                      <a:pt x="172" y="440"/>
                      <a:pt x="195" y="444"/>
                    </a:cubicBezTo>
                    <a:lnTo>
                      <a:pt x="323" y="443"/>
                    </a:lnTo>
                    <a:lnTo>
                      <a:pt x="323" y="301"/>
                    </a:lnTo>
                    <a:cubicBezTo>
                      <a:pt x="320" y="278"/>
                      <a:pt x="311" y="306"/>
                      <a:pt x="304" y="306"/>
                    </a:cubicBezTo>
                    <a:cubicBezTo>
                      <a:pt x="297" y="306"/>
                      <a:pt x="288" y="304"/>
                      <a:pt x="282" y="301"/>
                    </a:cubicBezTo>
                    <a:cubicBezTo>
                      <a:pt x="276" y="297"/>
                      <a:pt x="271" y="291"/>
                      <a:pt x="266" y="284"/>
                    </a:cubicBezTo>
                    <a:lnTo>
                      <a:pt x="250" y="256"/>
                    </a:lnTo>
                    <a:lnTo>
                      <a:pt x="246" y="223"/>
                    </a:lnTo>
                    <a:lnTo>
                      <a:pt x="249" y="194"/>
                    </a:lnTo>
                    <a:lnTo>
                      <a:pt x="263" y="161"/>
                    </a:lnTo>
                    <a:lnTo>
                      <a:pt x="280" y="143"/>
                    </a:lnTo>
                    <a:cubicBezTo>
                      <a:pt x="286" y="139"/>
                      <a:pt x="291" y="137"/>
                      <a:pt x="298" y="136"/>
                    </a:cubicBezTo>
                    <a:cubicBezTo>
                      <a:pt x="306" y="135"/>
                      <a:pt x="320" y="160"/>
                      <a:pt x="324" y="138"/>
                    </a:cubicBezTo>
                    <a:lnTo>
                      <a:pt x="324" y="0"/>
                    </a:lnTo>
                    <a:lnTo>
                      <a:pt x="197" y="1"/>
                    </a:lnTo>
                    <a:cubicBezTo>
                      <a:pt x="175" y="7"/>
                      <a:pt x="194" y="25"/>
                      <a:pt x="192" y="34"/>
                    </a:cubicBezTo>
                    <a:cubicBezTo>
                      <a:pt x="189" y="44"/>
                      <a:pt x="188" y="50"/>
                      <a:pt x="183" y="57"/>
                    </a:cubicBezTo>
                    <a:lnTo>
                      <a:pt x="161" y="77"/>
                    </a:lnTo>
                    <a:lnTo>
                      <a:pt x="138" y="87"/>
                    </a:lnTo>
                    <a:lnTo>
                      <a:pt x="110" y="89"/>
                    </a:lnTo>
                    <a:lnTo>
                      <a:pt x="78" y="70"/>
                    </a:lnTo>
                    <a:lnTo>
                      <a:pt x="64" y="51"/>
                    </a:lnTo>
                    <a:cubicBezTo>
                      <a:pt x="60" y="44"/>
                      <a:pt x="59" y="32"/>
                      <a:pt x="56" y="24"/>
                    </a:cubicBezTo>
                    <a:cubicBezTo>
                      <a:pt x="54" y="17"/>
                      <a:pt x="54" y="6"/>
                      <a:pt x="45" y="2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" name="Group 14"/>
            <p:cNvGrpSpPr/>
            <p:nvPr/>
          </p:nvGrpSpPr>
          <p:grpSpPr>
            <a:xfrm rot="5400000">
              <a:off x="511381" y="4648081"/>
              <a:ext cx="1586244" cy="2428773"/>
              <a:chOff x="5610965" y="3058772"/>
              <a:chExt cx="2705451" cy="2803645"/>
            </a:xfrm>
            <a:solidFill>
              <a:schemeClr val="accent1">
                <a:lumMod val="75000"/>
              </a:schemeClr>
            </a:solidFill>
          </p:grpSpPr>
          <p:sp>
            <p:nvSpPr>
              <p:cNvPr id="29" name="Freeform 13"/>
              <p:cNvSpPr>
                <a:spLocks/>
              </p:cNvSpPr>
              <p:nvPr/>
            </p:nvSpPr>
            <p:spPr bwMode="auto">
              <a:xfrm rot="16200000">
                <a:off x="6079849" y="3625850"/>
                <a:ext cx="1767683" cy="2705451"/>
              </a:xfrm>
              <a:custGeom>
                <a:avLst/>
                <a:gdLst/>
                <a:ahLst/>
                <a:cxnLst>
                  <a:cxn ang="0">
                    <a:pos x="0" y="517"/>
                  </a:cxn>
                  <a:cxn ang="0">
                    <a:pos x="84" y="82"/>
                  </a:cxn>
                  <a:cxn ang="0">
                    <a:pos x="123" y="82"/>
                  </a:cxn>
                  <a:cxn ang="0">
                    <a:pos x="130" y="57"/>
                  </a:cxn>
                  <a:cxn ang="0">
                    <a:pos x="127" y="51"/>
                  </a:cxn>
                  <a:cxn ang="0">
                    <a:pos x="139" y="29"/>
                  </a:cxn>
                  <a:cxn ang="0">
                    <a:pos x="154" y="11"/>
                  </a:cxn>
                  <a:cxn ang="0">
                    <a:pos x="177" y="4"/>
                  </a:cxn>
                  <a:cxn ang="0">
                    <a:pos x="200" y="0"/>
                  </a:cxn>
                  <a:cxn ang="0">
                    <a:pos x="222" y="7"/>
                  </a:cxn>
                  <a:cxn ang="0">
                    <a:pos x="240" y="20"/>
                  </a:cxn>
                  <a:cxn ang="0">
                    <a:pos x="255" y="35"/>
                  </a:cxn>
                  <a:cxn ang="0">
                    <a:pos x="262" y="56"/>
                  </a:cxn>
                  <a:cxn ang="0">
                    <a:pos x="271" y="81"/>
                  </a:cxn>
                  <a:cxn ang="0">
                    <a:pos x="399" y="81"/>
                  </a:cxn>
                  <a:cxn ang="0">
                    <a:pos x="400" y="222"/>
                  </a:cxn>
                  <a:cxn ang="0">
                    <a:pos x="422" y="211"/>
                  </a:cxn>
                  <a:cxn ang="0">
                    <a:pos x="440" y="218"/>
                  </a:cxn>
                  <a:cxn ang="0">
                    <a:pos x="458" y="236"/>
                  </a:cxn>
                  <a:cxn ang="0">
                    <a:pos x="469" y="259"/>
                  </a:cxn>
                  <a:cxn ang="0">
                    <a:pos x="476" y="286"/>
                  </a:cxn>
                  <a:cxn ang="0">
                    <a:pos x="476" y="310"/>
                  </a:cxn>
                  <a:cxn ang="0">
                    <a:pos x="467" y="343"/>
                  </a:cxn>
                  <a:cxn ang="0">
                    <a:pos x="455" y="361"/>
                  </a:cxn>
                  <a:cxn ang="0">
                    <a:pos x="438" y="379"/>
                  </a:cxn>
                  <a:cxn ang="0">
                    <a:pos x="414" y="382"/>
                  </a:cxn>
                  <a:cxn ang="0">
                    <a:pos x="399" y="379"/>
                  </a:cxn>
                  <a:cxn ang="0">
                    <a:pos x="398" y="515"/>
                  </a:cxn>
                  <a:cxn ang="0">
                    <a:pos x="0" y="517"/>
                  </a:cxn>
                </a:cxnLst>
                <a:rect l="0" t="0" r="r" b="b"/>
                <a:pathLst>
                  <a:path w="476" h="517">
                    <a:moveTo>
                      <a:pt x="0" y="517"/>
                    </a:moveTo>
                    <a:lnTo>
                      <a:pt x="84" y="82"/>
                    </a:lnTo>
                    <a:lnTo>
                      <a:pt x="123" y="82"/>
                    </a:lnTo>
                    <a:cubicBezTo>
                      <a:pt x="131" y="78"/>
                      <a:pt x="129" y="62"/>
                      <a:pt x="130" y="57"/>
                    </a:cubicBezTo>
                    <a:cubicBezTo>
                      <a:pt x="131" y="52"/>
                      <a:pt x="126" y="56"/>
                      <a:pt x="127" y="51"/>
                    </a:cubicBezTo>
                    <a:cubicBezTo>
                      <a:pt x="128" y="46"/>
                      <a:pt x="135" y="36"/>
                      <a:pt x="139" y="29"/>
                    </a:cubicBezTo>
                    <a:lnTo>
                      <a:pt x="154" y="11"/>
                    </a:lnTo>
                    <a:lnTo>
                      <a:pt x="177" y="4"/>
                    </a:lnTo>
                    <a:lnTo>
                      <a:pt x="200" y="0"/>
                    </a:lnTo>
                    <a:lnTo>
                      <a:pt x="222" y="7"/>
                    </a:lnTo>
                    <a:lnTo>
                      <a:pt x="240" y="20"/>
                    </a:lnTo>
                    <a:lnTo>
                      <a:pt x="255" y="35"/>
                    </a:lnTo>
                    <a:cubicBezTo>
                      <a:pt x="258" y="41"/>
                      <a:pt x="259" y="48"/>
                      <a:pt x="262" y="56"/>
                    </a:cubicBezTo>
                    <a:cubicBezTo>
                      <a:pt x="264" y="64"/>
                      <a:pt x="248" y="76"/>
                      <a:pt x="271" y="81"/>
                    </a:cubicBezTo>
                    <a:lnTo>
                      <a:pt x="399" y="81"/>
                    </a:lnTo>
                    <a:lnTo>
                      <a:pt x="400" y="222"/>
                    </a:lnTo>
                    <a:cubicBezTo>
                      <a:pt x="404" y="244"/>
                      <a:pt x="415" y="212"/>
                      <a:pt x="422" y="211"/>
                    </a:cubicBezTo>
                    <a:cubicBezTo>
                      <a:pt x="429" y="212"/>
                      <a:pt x="434" y="214"/>
                      <a:pt x="440" y="218"/>
                    </a:cubicBezTo>
                    <a:lnTo>
                      <a:pt x="458" y="236"/>
                    </a:lnTo>
                    <a:lnTo>
                      <a:pt x="469" y="259"/>
                    </a:lnTo>
                    <a:lnTo>
                      <a:pt x="476" y="286"/>
                    </a:lnTo>
                    <a:lnTo>
                      <a:pt x="476" y="310"/>
                    </a:lnTo>
                    <a:lnTo>
                      <a:pt x="467" y="343"/>
                    </a:lnTo>
                    <a:lnTo>
                      <a:pt x="455" y="361"/>
                    </a:lnTo>
                    <a:lnTo>
                      <a:pt x="438" y="379"/>
                    </a:lnTo>
                    <a:cubicBezTo>
                      <a:pt x="431" y="382"/>
                      <a:pt x="420" y="382"/>
                      <a:pt x="414" y="382"/>
                    </a:cubicBezTo>
                    <a:cubicBezTo>
                      <a:pt x="408" y="382"/>
                      <a:pt x="402" y="356"/>
                      <a:pt x="399" y="379"/>
                    </a:cubicBezTo>
                    <a:lnTo>
                      <a:pt x="398" y="515"/>
                    </a:lnTo>
                    <a:lnTo>
                      <a:pt x="0" y="5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16"/>
              <p:cNvSpPr>
                <a:spLocks/>
              </p:cNvSpPr>
              <p:nvPr/>
            </p:nvSpPr>
            <p:spPr bwMode="auto">
              <a:xfrm rot="16200000">
                <a:off x="6485144" y="2577064"/>
                <a:ext cx="1344330" cy="2307745"/>
              </a:xfrm>
              <a:custGeom>
                <a:avLst/>
                <a:gdLst/>
                <a:ahLst/>
                <a:cxnLst>
                  <a:cxn ang="0">
                    <a:pos x="362" y="2"/>
                  </a:cxn>
                  <a:cxn ang="0">
                    <a:pos x="267" y="439"/>
                  </a:cxn>
                  <a:cxn ang="0">
                    <a:pos x="0" y="441"/>
                  </a:cxn>
                  <a:cxn ang="0">
                    <a:pos x="0" y="307"/>
                  </a:cxn>
                  <a:cxn ang="0">
                    <a:pos x="24" y="307"/>
                  </a:cxn>
                  <a:cxn ang="0">
                    <a:pos x="57" y="290"/>
                  </a:cxn>
                  <a:cxn ang="0">
                    <a:pos x="73" y="257"/>
                  </a:cxn>
                  <a:cxn ang="0">
                    <a:pos x="78" y="231"/>
                  </a:cxn>
                  <a:cxn ang="0">
                    <a:pos x="76" y="202"/>
                  </a:cxn>
                  <a:cxn ang="0">
                    <a:pos x="68" y="172"/>
                  </a:cxn>
                  <a:cxn ang="0">
                    <a:pos x="51" y="151"/>
                  </a:cxn>
                  <a:cxn ang="0">
                    <a:pos x="26" y="140"/>
                  </a:cxn>
                  <a:cxn ang="0">
                    <a:pos x="2" y="146"/>
                  </a:cxn>
                  <a:cxn ang="0">
                    <a:pos x="1" y="0"/>
                  </a:cxn>
                  <a:cxn ang="0">
                    <a:pos x="119" y="1"/>
                  </a:cxn>
                  <a:cxn ang="0">
                    <a:pos x="122" y="23"/>
                  </a:cxn>
                  <a:cxn ang="0">
                    <a:pos x="123" y="44"/>
                  </a:cxn>
                  <a:cxn ang="0">
                    <a:pos x="134" y="63"/>
                  </a:cxn>
                  <a:cxn ang="0">
                    <a:pos x="150" y="80"/>
                  </a:cxn>
                  <a:cxn ang="0">
                    <a:pos x="176" y="89"/>
                  </a:cxn>
                  <a:cxn ang="0">
                    <a:pos x="200" y="89"/>
                  </a:cxn>
                  <a:cxn ang="0">
                    <a:pos x="227" y="82"/>
                  </a:cxn>
                  <a:cxn ang="0">
                    <a:pos x="248" y="65"/>
                  </a:cxn>
                  <a:cxn ang="0">
                    <a:pos x="257" y="46"/>
                  </a:cxn>
                  <a:cxn ang="0">
                    <a:pos x="263" y="32"/>
                  </a:cxn>
                  <a:cxn ang="0">
                    <a:pos x="261" y="18"/>
                  </a:cxn>
                  <a:cxn ang="0">
                    <a:pos x="260" y="2"/>
                  </a:cxn>
                  <a:cxn ang="0">
                    <a:pos x="362" y="2"/>
                  </a:cxn>
                </a:cxnLst>
                <a:rect l="0" t="0" r="r" b="b"/>
                <a:pathLst>
                  <a:path w="362" h="441">
                    <a:moveTo>
                      <a:pt x="362" y="2"/>
                    </a:moveTo>
                    <a:lnTo>
                      <a:pt x="267" y="439"/>
                    </a:lnTo>
                    <a:lnTo>
                      <a:pt x="0" y="441"/>
                    </a:lnTo>
                    <a:lnTo>
                      <a:pt x="0" y="307"/>
                    </a:lnTo>
                    <a:cubicBezTo>
                      <a:pt x="4" y="285"/>
                      <a:pt x="15" y="310"/>
                      <a:pt x="24" y="307"/>
                    </a:cubicBezTo>
                    <a:cubicBezTo>
                      <a:pt x="33" y="305"/>
                      <a:pt x="48" y="299"/>
                      <a:pt x="57" y="290"/>
                    </a:cubicBezTo>
                    <a:lnTo>
                      <a:pt x="73" y="257"/>
                    </a:lnTo>
                    <a:lnTo>
                      <a:pt x="78" y="231"/>
                    </a:lnTo>
                    <a:lnTo>
                      <a:pt x="76" y="202"/>
                    </a:lnTo>
                    <a:lnTo>
                      <a:pt x="68" y="172"/>
                    </a:lnTo>
                    <a:cubicBezTo>
                      <a:pt x="64" y="164"/>
                      <a:pt x="58" y="156"/>
                      <a:pt x="51" y="151"/>
                    </a:cubicBezTo>
                    <a:cubicBezTo>
                      <a:pt x="45" y="147"/>
                      <a:pt x="34" y="141"/>
                      <a:pt x="26" y="140"/>
                    </a:cubicBezTo>
                    <a:cubicBezTo>
                      <a:pt x="18" y="138"/>
                      <a:pt x="6" y="169"/>
                      <a:pt x="2" y="146"/>
                    </a:cubicBezTo>
                    <a:lnTo>
                      <a:pt x="1" y="0"/>
                    </a:lnTo>
                    <a:lnTo>
                      <a:pt x="119" y="1"/>
                    </a:lnTo>
                    <a:cubicBezTo>
                      <a:pt x="140" y="4"/>
                      <a:pt x="121" y="16"/>
                      <a:pt x="122" y="23"/>
                    </a:cubicBezTo>
                    <a:cubicBezTo>
                      <a:pt x="121" y="28"/>
                      <a:pt x="122" y="40"/>
                      <a:pt x="123" y="44"/>
                    </a:cubicBezTo>
                    <a:lnTo>
                      <a:pt x="134" y="63"/>
                    </a:lnTo>
                    <a:lnTo>
                      <a:pt x="150" y="80"/>
                    </a:lnTo>
                    <a:lnTo>
                      <a:pt x="176" y="89"/>
                    </a:lnTo>
                    <a:lnTo>
                      <a:pt x="200" y="89"/>
                    </a:lnTo>
                    <a:lnTo>
                      <a:pt x="227" y="82"/>
                    </a:lnTo>
                    <a:lnTo>
                      <a:pt x="248" y="65"/>
                    </a:lnTo>
                    <a:lnTo>
                      <a:pt x="257" y="46"/>
                    </a:lnTo>
                    <a:lnTo>
                      <a:pt x="263" y="32"/>
                    </a:lnTo>
                    <a:cubicBezTo>
                      <a:pt x="263" y="27"/>
                      <a:pt x="262" y="22"/>
                      <a:pt x="261" y="18"/>
                    </a:cubicBezTo>
                    <a:cubicBezTo>
                      <a:pt x="261" y="14"/>
                      <a:pt x="237" y="5"/>
                      <a:pt x="260" y="2"/>
                    </a:cubicBezTo>
                    <a:lnTo>
                      <a:pt x="362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>
                    <a:lumMod val="5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9" name="TextBox 38"/>
            <p:cNvSpPr txBox="1"/>
            <p:nvPr/>
          </p:nvSpPr>
          <p:spPr>
            <a:xfrm>
              <a:off x="957812" y="4066291"/>
              <a:ext cx="1442561" cy="476353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305522" algn="ctr" defTabSz="1018644" rtl="1">
                <a:spcAft>
                  <a:spcPts val="1003"/>
                </a:spcAft>
              </a:pPr>
              <a:r>
                <a:rPr lang="ar-AE" sz="2000" b="1" dirty="0" smtClean="0">
                  <a:solidFill>
                    <a:prstClr val="black"/>
                  </a:solidFill>
                </a:rPr>
                <a:t>الممارسات التي تعزز الكفاءة والفعالية</a:t>
              </a:r>
              <a:endParaRPr lang="en-US" sz="2000" b="1" dirty="0" smtClean="0">
                <a:solidFill>
                  <a:prstClr val="black"/>
                </a:solidFill>
              </a:endParaRPr>
            </a:p>
          </p:txBody>
        </p:sp>
        <p:grpSp>
          <p:nvGrpSpPr>
            <p:cNvPr id="6" name="Group 46"/>
            <p:cNvGrpSpPr/>
            <p:nvPr/>
          </p:nvGrpSpPr>
          <p:grpSpPr>
            <a:xfrm>
              <a:off x="90116" y="1908423"/>
              <a:ext cx="2390172" cy="1728190"/>
              <a:chOff x="174332" y="2052441"/>
              <a:chExt cx="2390172" cy="1623061"/>
            </a:xfrm>
          </p:grpSpPr>
          <p:grpSp>
            <p:nvGrpSpPr>
              <p:cNvPr id="7" name="Group 15"/>
              <p:cNvGrpSpPr/>
              <p:nvPr/>
            </p:nvGrpSpPr>
            <p:grpSpPr>
              <a:xfrm rot="5400000">
                <a:off x="557887" y="1668886"/>
                <a:ext cx="1623061" cy="2390172"/>
                <a:chOff x="971601" y="3118187"/>
                <a:chExt cx="2768247" cy="2759085"/>
              </a:xfrm>
              <a:solidFill>
                <a:schemeClr val="accent1"/>
              </a:solidFill>
            </p:grpSpPr>
            <p:sp>
              <p:nvSpPr>
                <p:cNvPr id="21" name="Freeform 11"/>
                <p:cNvSpPr>
                  <a:spLocks/>
                </p:cNvSpPr>
                <p:nvPr/>
              </p:nvSpPr>
              <p:spPr bwMode="auto">
                <a:xfrm rot="16200000">
                  <a:off x="1500573" y="2589215"/>
                  <a:ext cx="1281200" cy="233914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62" y="1"/>
                    </a:cxn>
                    <a:cxn ang="0">
                      <a:pos x="345" y="447"/>
                    </a:cxn>
                    <a:cxn ang="0">
                      <a:pos x="272" y="444"/>
                    </a:cxn>
                    <a:cxn ang="0">
                      <a:pos x="268" y="399"/>
                    </a:cxn>
                    <a:cxn ang="0">
                      <a:pos x="256" y="375"/>
                    </a:cxn>
                    <a:cxn ang="0">
                      <a:pos x="233" y="357"/>
                    </a:cxn>
                    <a:cxn ang="0">
                      <a:pos x="205" y="351"/>
                    </a:cxn>
                    <a:cxn ang="0">
                      <a:pos x="176" y="353"/>
                    </a:cxn>
                    <a:cxn ang="0">
                      <a:pos x="154" y="369"/>
                    </a:cxn>
                    <a:cxn ang="0">
                      <a:pos x="137" y="387"/>
                    </a:cxn>
                    <a:cxn ang="0">
                      <a:pos x="128" y="419"/>
                    </a:cxn>
                    <a:cxn ang="0">
                      <a:pos x="127" y="442"/>
                    </a:cxn>
                    <a:cxn ang="0">
                      <a:pos x="0" y="442"/>
                    </a:cxn>
                    <a:cxn ang="0">
                      <a:pos x="1" y="310"/>
                    </a:cxn>
                    <a:cxn ang="0">
                      <a:pos x="18" y="305"/>
                    </a:cxn>
                    <a:cxn ang="0">
                      <a:pos x="34" y="311"/>
                    </a:cxn>
                    <a:cxn ang="0">
                      <a:pos x="53" y="299"/>
                    </a:cxn>
                    <a:cxn ang="0">
                      <a:pos x="67" y="276"/>
                    </a:cxn>
                    <a:cxn ang="0">
                      <a:pos x="79" y="249"/>
                    </a:cxn>
                    <a:cxn ang="0">
                      <a:pos x="79" y="221"/>
                    </a:cxn>
                    <a:cxn ang="0">
                      <a:pos x="76" y="191"/>
                    </a:cxn>
                    <a:cxn ang="0">
                      <a:pos x="61" y="161"/>
                    </a:cxn>
                    <a:cxn ang="0">
                      <a:pos x="43" y="144"/>
                    </a:cxn>
                    <a:cxn ang="0">
                      <a:pos x="25" y="141"/>
                    </a:cxn>
                    <a:cxn ang="0">
                      <a:pos x="10" y="149"/>
                    </a:cxn>
                    <a:cxn ang="0">
                      <a:pos x="0" y="13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5" h="447">
                      <a:moveTo>
                        <a:pt x="0" y="0"/>
                      </a:moveTo>
                      <a:lnTo>
                        <a:pt x="262" y="1"/>
                      </a:lnTo>
                      <a:lnTo>
                        <a:pt x="345" y="447"/>
                      </a:lnTo>
                      <a:lnTo>
                        <a:pt x="272" y="444"/>
                      </a:lnTo>
                      <a:cubicBezTo>
                        <a:pt x="259" y="436"/>
                        <a:pt x="271" y="411"/>
                        <a:pt x="268" y="399"/>
                      </a:cubicBezTo>
                      <a:cubicBezTo>
                        <a:pt x="265" y="389"/>
                        <a:pt x="262" y="384"/>
                        <a:pt x="256" y="375"/>
                      </a:cubicBezTo>
                      <a:lnTo>
                        <a:pt x="233" y="357"/>
                      </a:lnTo>
                      <a:lnTo>
                        <a:pt x="205" y="351"/>
                      </a:lnTo>
                      <a:lnTo>
                        <a:pt x="176" y="353"/>
                      </a:lnTo>
                      <a:lnTo>
                        <a:pt x="154" y="369"/>
                      </a:lnTo>
                      <a:cubicBezTo>
                        <a:pt x="147" y="375"/>
                        <a:pt x="141" y="379"/>
                        <a:pt x="137" y="387"/>
                      </a:cubicBezTo>
                      <a:cubicBezTo>
                        <a:pt x="133" y="394"/>
                        <a:pt x="129" y="411"/>
                        <a:pt x="128" y="419"/>
                      </a:cubicBezTo>
                      <a:cubicBezTo>
                        <a:pt x="126" y="428"/>
                        <a:pt x="148" y="438"/>
                        <a:pt x="127" y="442"/>
                      </a:cubicBezTo>
                      <a:lnTo>
                        <a:pt x="0" y="442"/>
                      </a:lnTo>
                      <a:lnTo>
                        <a:pt x="1" y="310"/>
                      </a:lnTo>
                      <a:cubicBezTo>
                        <a:pt x="4" y="287"/>
                        <a:pt x="13" y="305"/>
                        <a:pt x="18" y="305"/>
                      </a:cubicBezTo>
                      <a:cubicBezTo>
                        <a:pt x="23" y="305"/>
                        <a:pt x="28" y="312"/>
                        <a:pt x="34" y="311"/>
                      </a:cubicBezTo>
                      <a:lnTo>
                        <a:pt x="53" y="299"/>
                      </a:lnTo>
                      <a:lnTo>
                        <a:pt x="67" y="276"/>
                      </a:lnTo>
                      <a:lnTo>
                        <a:pt x="79" y="249"/>
                      </a:lnTo>
                      <a:lnTo>
                        <a:pt x="79" y="221"/>
                      </a:lnTo>
                      <a:lnTo>
                        <a:pt x="76" y="191"/>
                      </a:lnTo>
                      <a:lnTo>
                        <a:pt x="61" y="161"/>
                      </a:lnTo>
                      <a:lnTo>
                        <a:pt x="43" y="144"/>
                      </a:lnTo>
                      <a:lnTo>
                        <a:pt x="25" y="141"/>
                      </a:lnTo>
                      <a:cubicBezTo>
                        <a:pt x="20" y="142"/>
                        <a:pt x="14" y="149"/>
                        <a:pt x="10" y="149"/>
                      </a:cubicBezTo>
                      <a:cubicBezTo>
                        <a:pt x="2" y="156"/>
                        <a:pt x="1" y="162"/>
                        <a:pt x="0" y="138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/>
                <a:p>
                  <a:pPr defTabSz="1018644"/>
                  <a:endParaRPr lang="en-US" sz="1100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4" name="Freeform 14"/>
                <p:cNvSpPr>
                  <a:spLocks/>
                </p:cNvSpPr>
                <p:nvPr/>
              </p:nvSpPr>
              <p:spPr bwMode="auto">
                <a:xfrm rot="16200000">
                  <a:off x="1461501" y="3598926"/>
                  <a:ext cx="1793679" cy="276301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83" y="441"/>
                    </a:cxn>
                    <a:cxn ang="0">
                      <a:pos x="131" y="442"/>
                    </a:cxn>
                    <a:cxn ang="0">
                      <a:pos x="135" y="463"/>
                    </a:cxn>
                    <a:cxn ang="0">
                      <a:pos x="141" y="491"/>
                    </a:cxn>
                    <a:cxn ang="0">
                      <a:pos x="159" y="515"/>
                    </a:cxn>
                    <a:cxn ang="0">
                      <a:pos x="177" y="526"/>
                    </a:cxn>
                    <a:cxn ang="0">
                      <a:pos x="207" y="528"/>
                    </a:cxn>
                    <a:cxn ang="0">
                      <a:pos x="232" y="522"/>
                    </a:cxn>
                    <a:cxn ang="0">
                      <a:pos x="254" y="508"/>
                    </a:cxn>
                    <a:cxn ang="0">
                      <a:pos x="269" y="490"/>
                    </a:cxn>
                    <a:cxn ang="0">
                      <a:pos x="275" y="469"/>
                    </a:cxn>
                    <a:cxn ang="0">
                      <a:pos x="278" y="442"/>
                    </a:cxn>
                    <a:cxn ang="0">
                      <a:pos x="406" y="442"/>
                    </a:cxn>
                    <a:cxn ang="0">
                      <a:pos x="406" y="309"/>
                    </a:cxn>
                    <a:cxn ang="0">
                      <a:pos x="429" y="311"/>
                    </a:cxn>
                    <a:cxn ang="0">
                      <a:pos x="447" y="304"/>
                    </a:cxn>
                    <a:cxn ang="0">
                      <a:pos x="465" y="286"/>
                    </a:cxn>
                    <a:cxn ang="0">
                      <a:pos x="476" y="264"/>
                    </a:cxn>
                    <a:cxn ang="0">
                      <a:pos x="483" y="236"/>
                    </a:cxn>
                    <a:cxn ang="0">
                      <a:pos x="483" y="213"/>
                    </a:cxn>
                    <a:cxn ang="0">
                      <a:pos x="474" y="179"/>
                    </a:cxn>
                    <a:cxn ang="0">
                      <a:pos x="467" y="163"/>
                    </a:cxn>
                    <a:cxn ang="0">
                      <a:pos x="445" y="143"/>
                    </a:cxn>
                    <a:cxn ang="0">
                      <a:pos x="421" y="141"/>
                    </a:cxn>
                    <a:cxn ang="0">
                      <a:pos x="406" y="143"/>
                    </a:cxn>
                    <a:cxn ang="0">
                      <a:pos x="406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483" h="528">
                      <a:moveTo>
                        <a:pt x="0" y="0"/>
                      </a:moveTo>
                      <a:lnTo>
                        <a:pt x="83" y="441"/>
                      </a:lnTo>
                      <a:lnTo>
                        <a:pt x="131" y="442"/>
                      </a:lnTo>
                      <a:cubicBezTo>
                        <a:pt x="140" y="446"/>
                        <a:pt x="133" y="455"/>
                        <a:pt x="135" y="463"/>
                      </a:cubicBezTo>
                      <a:cubicBezTo>
                        <a:pt x="137" y="470"/>
                        <a:pt x="136" y="483"/>
                        <a:pt x="141" y="491"/>
                      </a:cubicBezTo>
                      <a:lnTo>
                        <a:pt x="159" y="515"/>
                      </a:lnTo>
                      <a:lnTo>
                        <a:pt x="177" y="526"/>
                      </a:lnTo>
                      <a:lnTo>
                        <a:pt x="207" y="528"/>
                      </a:lnTo>
                      <a:lnTo>
                        <a:pt x="232" y="522"/>
                      </a:lnTo>
                      <a:lnTo>
                        <a:pt x="254" y="508"/>
                      </a:lnTo>
                      <a:lnTo>
                        <a:pt x="269" y="490"/>
                      </a:lnTo>
                      <a:cubicBezTo>
                        <a:pt x="272" y="484"/>
                        <a:pt x="273" y="477"/>
                        <a:pt x="275" y="469"/>
                      </a:cubicBezTo>
                      <a:cubicBezTo>
                        <a:pt x="277" y="461"/>
                        <a:pt x="256" y="446"/>
                        <a:pt x="278" y="442"/>
                      </a:cubicBezTo>
                      <a:lnTo>
                        <a:pt x="406" y="442"/>
                      </a:lnTo>
                      <a:lnTo>
                        <a:pt x="406" y="309"/>
                      </a:lnTo>
                      <a:cubicBezTo>
                        <a:pt x="410" y="287"/>
                        <a:pt x="422" y="312"/>
                        <a:pt x="429" y="311"/>
                      </a:cubicBezTo>
                      <a:cubicBezTo>
                        <a:pt x="436" y="310"/>
                        <a:pt x="441" y="308"/>
                        <a:pt x="447" y="304"/>
                      </a:cubicBezTo>
                      <a:lnTo>
                        <a:pt x="465" y="286"/>
                      </a:lnTo>
                      <a:lnTo>
                        <a:pt x="476" y="264"/>
                      </a:lnTo>
                      <a:lnTo>
                        <a:pt x="483" y="236"/>
                      </a:lnTo>
                      <a:lnTo>
                        <a:pt x="483" y="213"/>
                      </a:lnTo>
                      <a:lnTo>
                        <a:pt x="474" y="179"/>
                      </a:lnTo>
                      <a:lnTo>
                        <a:pt x="467" y="163"/>
                      </a:lnTo>
                      <a:lnTo>
                        <a:pt x="445" y="143"/>
                      </a:lnTo>
                      <a:cubicBezTo>
                        <a:pt x="438" y="139"/>
                        <a:pt x="427" y="141"/>
                        <a:pt x="421" y="141"/>
                      </a:cubicBezTo>
                      <a:cubicBezTo>
                        <a:pt x="415" y="141"/>
                        <a:pt x="409" y="166"/>
                        <a:pt x="406" y="143"/>
                      </a:cubicBezTo>
                      <a:lnTo>
                        <a:pt x="40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 cap="flat" cmpd="sng">
                  <a:solidFill>
                    <a:schemeClr val="accent6"/>
                  </a:solidFill>
                  <a:prstDash val="solid"/>
                  <a:round/>
                  <a:headEnd/>
                  <a:tailEnd/>
                </a:ln>
                <a:effectLst/>
              </p:spPr>
              <p:txBody>
                <a:bodyPr wrap="none" lIns="0" tIns="0" rIns="0" bIns="0" anchor="ctr"/>
                <a:lstStyle/>
                <a:p>
                  <a:pPr defTabSz="1018644"/>
                  <a:endParaRPr lang="en-US" sz="1100" dirty="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40" name="TextBox 39"/>
              <p:cNvSpPr txBox="1"/>
              <p:nvPr/>
            </p:nvSpPr>
            <p:spPr>
              <a:xfrm>
                <a:off x="595372" y="2528793"/>
                <a:ext cx="1515768" cy="476353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>
                <a:noAutofit/>
              </a:bodyPr>
              <a:lstStyle/>
              <a:p>
                <a:pPr indent="-305522" algn="ctr" defTabSz="1018644" rtl="1">
                  <a:spcAft>
                    <a:spcPts val="1003"/>
                  </a:spcAft>
                </a:pPr>
                <a:r>
                  <a:rPr lang="ar-AE" sz="2000" b="1" dirty="0" smtClean="0">
                    <a:solidFill>
                      <a:prstClr val="white"/>
                    </a:solidFill>
                  </a:rPr>
                  <a:t>الابتكار في التعلّم الإلكتروني</a:t>
                </a:r>
                <a:endParaRPr lang="en-US" sz="2000" b="1" dirty="0" smtClean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45" name="TextBox 44"/>
            <p:cNvSpPr txBox="1"/>
            <p:nvPr/>
          </p:nvSpPr>
          <p:spPr>
            <a:xfrm>
              <a:off x="612510" y="5702692"/>
              <a:ext cx="1515768" cy="476353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indent="-305522" algn="ctr" defTabSz="1018644" rtl="1">
                <a:spcAft>
                  <a:spcPts val="1003"/>
                </a:spcAft>
              </a:pPr>
              <a:r>
                <a:rPr lang="ar-AE" sz="2000" b="1" dirty="0" smtClean="0">
                  <a:solidFill>
                    <a:prstClr val="white"/>
                  </a:solidFill>
                </a:rPr>
                <a:t>أثر الديناميكيات الدولية على التعلّم الإلكتروني</a:t>
              </a:r>
              <a:endParaRPr lang="en-US" sz="20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7794972" y="3852639"/>
              <a:ext cx="2405474" cy="1349667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noAutofit/>
            </a:bodyPr>
            <a:lstStyle/>
            <a:p>
              <a:pPr marL="185648" indent="-185648" algn="r" defTabSz="1018644" rtl="1">
                <a:spcAft>
                  <a:spcPts val="500"/>
                </a:spcAft>
                <a:buSzPct val="75000"/>
                <a:buFont typeface="Wingdings" pitchFamily="2" charset="2"/>
                <a:buChar char="§"/>
              </a:pPr>
              <a:r>
                <a:rPr lang="ar-AE" sz="1400" dirty="0" smtClean="0">
                  <a:solidFill>
                    <a:prstClr val="black"/>
                  </a:solidFill>
                </a:rPr>
                <a:t>ضمان تحفيز المتعلمين إلكتروني</a:t>
              </a:r>
              <a:r>
                <a:rPr lang="ar-SA" sz="1400" dirty="0" smtClean="0">
                  <a:solidFill>
                    <a:prstClr val="black"/>
                  </a:solidFill>
                </a:rPr>
                <a:t>اً</a:t>
              </a:r>
              <a:r>
                <a:rPr lang="ar-AE" sz="1400" dirty="0" smtClean="0">
                  <a:solidFill>
                    <a:prstClr val="black"/>
                  </a:solidFill>
                </a:rPr>
                <a:t> للت</a:t>
              </a:r>
              <a:r>
                <a:rPr lang="ar-SA" sz="1400" dirty="0" smtClean="0">
                  <a:solidFill>
                    <a:prstClr val="black"/>
                  </a:solidFill>
                </a:rPr>
                <a:t>علم</a:t>
              </a:r>
              <a:r>
                <a:rPr lang="ar-AE" sz="1400" dirty="0" smtClean="0">
                  <a:solidFill>
                    <a:prstClr val="black"/>
                  </a:solidFill>
                </a:rPr>
                <a:t> الذاتي و</a:t>
              </a:r>
              <a:r>
                <a:rPr lang="ar-SA" sz="1400" dirty="0" smtClean="0">
                  <a:solidFill>
                    <a:prstClr val="black"/>
                  </a:solidFill>
                </a:rPr>
                <a:t>وجود الخبرة في </a:t>
              </a:r>
              <a:r>
                <a:rPr lang="ar-AE" sz="1400" dirty="0" smtClean="0">
                  <a:solidFill>
                    <a:prstClr val="black"/>
                  </a:solidFill>
                </a:rPr>
                <a:t>استخدام  </a:t>
              </a:r>
              <a:r>
                <a:rPr lang="ar-SA" sz="1400" dirty="0" smtClean="0">
                  <a:solidFill>
                    <a:prstClr val="black"/>
                  </a:solidFill>
                </a:rPr>
                <a:t>ا</a:t>
              </a:r>
              <a:r>
                <a:rPr lang="ar-AE" sz="1400" dirty="0" smtClean="0">
                  <a:solidFill>
                    <a:prstClr val="black"/>
                  </a:solidFill>
                </a:rPr>
                <a:t>لتكنولوجيا </a:t>
              </a:r>
              <a:endParaRPr lang="en-US" sz="1400" dirty="0" smtClean="0">
                <a:solidFill>
                  <a:prstClr val="black"/>
                </a:solidFill>
              </a:endParaRPr>
            </a:p>
            <a:p>
              <a:pPr marL="185648" indent="-185648" algn="r" defTabSz="1018644" rtl="1">
                <a:spcAft>
                  <a:spcPts val="500"/>
                </a:spcAft>
                <a:buSzPct val="75000"/>
                <a:buFont typeface="Wingdings" pitchFamily="2" charset="2"/>
                <a:buChar char="§"/>
              </a:pPr>
              <a:r>
                <a:rPr lang="ar-AE" sz="1400" dirty="0" smtClean="0">
                  <a:solidFill>
                    <a:prstClr val="black"/>
                  </a:solidFill>
                </a:rPr>
                <a:t>أساليب متجددة لتعزيز البنى التحتية الإلكترونية (مثلاً المصادر السحابية)</a:t>
              </a:r>
              <a:endParaRPr lang="en-US" sz="1400" dirty="0" smtClean="0">
                <a:solidFill>
                  <a:prstClr val="black"/>
                </a:solidFill>
              </a:endParaRPr>
            </a:p>
          </p:txBody>
        </p:sp>
        <p:sp>
          <p:nvSpPr>
            <p:cNvPr id="46" name="Rectangle 34"/>
            <p:cNvSpPr>
              <a:spLocks noChangeArrowheads="1"/>
            </p:cNvSpPr>
            <p:nvPr/>
          </p:nvSpPr>
          <p:spPr bwMode="gray">
            <a:xfrm>
              <a:off x="18108" y="1404367"/>
              <a:ext cx="4896544" cy="432048"/>
            </a:xfrm>
            <a:prstGeom prst="rect">
              <a:avLst/>
            </a:prstGeom>
            <a:noFill/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tIns="91440" bIns="91440" anchor="ctr"/>
            <a:lstStyle/>
            <a:p>
              <a:pPr algn="ctr" rtl="1"/>
              <a:r>
                <a:rPr lang="ar-AE" sz="2400" b="1" dirty="0" smtClean="0">
                  <a:solidFill>
                    <a:srgbClr val="FFC000"/>
                  </a:solidFill>
                </a:rPr>
                <a:t>التوجهات الأهم في التعلّم الإلكتروني</a:t>
              </a:r>
              <a:endParaRPr lang="en-US" sz="2400" b="1" dirty="0">
                <a:solidFill>
                  <a:srgbClr val="FFC000"/>
                </a:solidFill>
              </a:endParaRPr>
            </a:p>
          </p:txBody>
        </p:sp>
        <p:sp>
          <p:nvSpPr>
            <p:cNvPr id="47" name="Rectangle 38"/>
            <p:cNvSpPr>
              <a:spLocks noChangeArrowheads="1"/>
            </p:cNvSpPr>
            <p:nvPr/>
          </p:nvSpPr>
          <p:spPr bwMode="gray">
            <a:xfrm>
              <a:off x="6010390" y="1404367"/>
              <a:ext cx="4875810" cy="43204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tIns="91440" bIns="91440" anchor="ctr"/>
            <a:lstStyle/>
            <a:p>
              <a:pPr algn="ctr" rtl="1"/>
              <a:r>
                <a:rPr lang="ar-AE" sz="2400" b="1" dirty="0" smtClean="0">
                  <a:solidFill>
                    <a:srgbClr val="FFC000"/>
                  </a:solidFill>
                </a:rPr>
                <a:t>أفضل الممارسات في التعلّم الإلكتروني</a:t>
              </a:r>
              <a:endParaRPr lang="en-US" sz="2400" b="1" dirty="0" smtClean="0">
                <a:solidFill>
                  <a:srgbClr val="FFC000"/>
                </a:solidFill>
              </a:endParaRPr>
            </a:p>
          </p:txBody>
        </p:sp>
        <p:grpSp>
          <p:nvGrpSpPr>
            <p:cNvPr id="49" name="Group 10"/>
            <p:cNvGrpSpPr>
              <a:grpSpLocks/>
            </p:cNvGrpSpPr>
            <p:nvPr/>
          </p:nvGrpSpPr>
          <p:grpSpPr bwMode="auto">
            <a:xfrm>
              <a:off x="5850756" y="3708623"/>
              <a:ext cx="1831401" cy="1512168"/>
              <a:chOff x="4560" y="2688"/>
              <a:chExt cx="795" cy="1321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50" name="Freeform 11"/>
              <p:cNvSpPr>
                <a:spLocks/>
              </p:cNvSpPr>
              <p:nvPr/>
            </p:nvSpPr>
            <p:spPr bwMode="auto">
              <a:xfrm>
                <a:off x="4963" y="2688"/>
                <a:ext cx="345" cy="44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62" y="1"/>
                  </a:cxn>
                  <a:cxn ang="0">
                    <a:pos x="345" y="447"/>
                  </a:cxn>
                  <a:cxn ang="0">
                    <a:pos x="272" y="444"/>
                  </a:cxn>
                  <a:cxn ang="0">
                    <a:pos x="268" y="399"/>
                  </a:cxn>
                  <a:cxn ang="0">
                    <a:pos x="256" y="375"/>
                  </a:cxn>
                  <a:cxn ang="0">
                    <a:pos x="233" y="357"/>
                  </a:cxn>
                  <a:cxn ang="0">
                    <a:pos x="205" y="351"/>
                  </a:cxn>
                  <a:cxn ang="0">
                    <a:pos x="176" y="353"/>
                  </a:cxn>
                  <a:cxn ang="0">
                    <a:pos x="154" y="369"/>
                  </a:cxn>
                  <a:cxn ang="0">
                    <a:pos x="137" y="387"/>
                  </a:cxn>
                  <a:cxn ang="0">
                    <a:pos x="128" y="419"/>
                  </a:cxn>
                  <a:cxn ang="0">
                    <a:pos x="127" y="442"/>
                  </a:cxn>
                  <a:cxn ang="0">
                    <a:pos x="0" y="442"/>
                  </a:cxn>
                  <a:cxn ang="0">
                    <a:pos x="1" y="310"/>
                  </a:cxn>
                  <a:cxn ang="0">
                    <a:pos x="18" y="305"/>
                  </a:cxn>
                  <a:cxn ang="0">
                    <a:pos x="34" y="311"/>
                  </a:cxn>
                  <a:cxn ang="0">
                    <a:pos x="53" y="299"/>
                  </a:cxn>
                  <a:cxn ang="0">
                    <a:pos x="67" y="276"/>
                  </a:cxn>
                  <a:cxn ang="0">
                    <a:pos x="79" y="249"/>
                  </a:cxn>
                  <a:cxn ang="0">
                    <a:pos x="79" y="221"/>
                  </a:cxn>
                  <a:cxn ang="0">
                    <a:pos x="76" y="191"/>
                  </a:cxn>
                  <a:cxn ang="0">
                    <a:pos x="61" y="161"/>
                  </a:cxn>
                  <a:cxn ang="0">
                    <a:pos x="43" y="144"/>
                  </a:cxn>
                  <a:cxn ang="0">
                    <a:pos x="25" y="141"/>
                  </a:cxn>
                  <a:cxn ang="0">
                    <a:pos x="10" y="149"/>
                  </a:cxn>
                  <a:cxn ang="0">
                    <a:pos x="0" y="138"/>
                  </a:cxn>
                  <a:cxn ang="0">
                    <a:pos x="0" y="0"/>
                  </a:cxn>
                </a:cxnLst>
                <a:rect l="0" t="0" r="r" b="b"/>
                <a:pathLst>
                  <a:path w="345" h="447">
                    <a:moveTo>
                      <a:pt x="0" y="0"/>
                    </a:moveTo>
                    <a:lnTo>
                      <a:pt x="262" y="1"/>
                    </a:lnTo>
                    <a:lnTo>
                      <a:pt x="345" y="447"/>
                    </a:lnTo>
                    <a:lnTo>
                      <a:pt x="272" y="444"/>
                    </a:lnTo>
                    <a:cubicBezTo>
                      <a:pt x="259" y="436"/>
                      <a:pt x="271" y="411"/>
                      <a:pt x="268" y="399"/>
                    </a:cubicBezTo>
                    <a:cubicBezTo>
                      <a:pt x="265" y="389"/>
                      <a:pt x="262" y="384"/>
                      <a:pt x="256" y="375"/>
                    </a:cubicBezTo>
                    <a:lnTo>
                      <a:pt x="233" y="357"/>
                    </a:lnTo>
                    <a:lnTo>
                      <a:pt x="205" y="351"/>
                    </a:lnTo>
                    <a:lnTo>
                      <a:pt x="176" y="353"/>
                    </a:lnTo>
                    <a:lnTo>
                      <a:pt x="154" y="369"/>
                    </a:lnTo>
                    <a:cubicBezTo>
                      <a:pt x="147" y="375"/>
                      <a:pt x="141" y="379"/>
                      <a:pt x="137" y="387"/>
                    </a:cubicBezTo>
                    <a:cubicBezTo>
                      <a:pt x="133" y="394"/>
                      <a:pt x="129" y="411"/>
                      <a:pt x="128" y="419"/>
                    </a:cubicBezTo>
                    <a:cubicBezTo>
                      <a:pt x="126" y="428"/>
                      <a:pt x="148" y="438"/>
                      <a:pt x="127" y="442"/>
                    </a:cubicBezTo>
                    <a:lnTo>
                      <a:pt x="0" y="442"/>
                    </a:lnTo>
                    <a:lnTo>
                      <a:pt x="1" y="310"/>
                    </a:lnTo>
                    <a:cubicBezTo>
                      <a:pt x="4" y="287"/>
                      <a:pt x="13" y="305"/>
                      <a:pt x="18" y="305"/>
                    </a:cubicBezTo>
                    <a:cubicBezTo>
                      <a:pt x="23" y="305"/>
                      <a:pt x="28" y="312"/>
                      <a:pt x="34" y="311"/>
                    </a:cubicBezTo>
                    <a:lnTo>
                      <a:pt x="53" y="299"/>
                    </a:lnTo>
                    <a:lnTo>
                      <a:pt x="67" y="276"/>
                    </a:lnTo>
                    <a:lnTo>
                      <a:pt x="79" y="249"/>
                    </a:lnTo>
                    <a:lnTo>
                      <a:pt x="79" y="221"/>
                    </a:lnTo>
                    <a:lnTo>
                      <a:pt x="76" y="191"/>
                    </a:lnTo>
                    <a:lnTo>
                      <a:pt x="61" y="161"/>
                    </a:lnTo>
                    <a:lnTo>
                      <a:pt x="43" y="144"/>
                    </a:lnTo>
                    <a:lnTo>
                      <a:pt x="25" y="141"/>
                    </a:lnTo>
                    <a:cubicBezTo>
                      <a:pt x="20" y="142"/>
                      <a:pt x="14" y="149"/>
                      <a:pt x="10" y="149"/>
                    </a:cubicBezTo>
                    <a:cubicBezTo>
                      <a:pt x="2" y="156"/>
                      <a:pt x="1" y="162"/>
                      <a:pt x="0" y="13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Freeform 12"/>
              <p:cNvSpPr>
                <a:spLocks/>
              </p:cNvSpPr>
              <p:nvPr/>
            </p:nvSpPr>
            <p:spPr bwMode="auto">
              <a:xfrm>
                <a:off x="4887" y="3039"/>
                <a:ext cx="468" cy="617"/>
              </a:xfrm>
              <a:custGeom>
                <a:avLst/>
                <a:gdLst/>
                <a:ahLst/>
                <a:cxnLst>
                  <a:cxn ang="0">
                    <a:pos x="437" y="532"/>
                  </a:cxn>
                  <a:cxn ang="0">
                    <a:pos x="468" y="374"/>
                  </a:cxn>
                  <a:cxn ang="0">
                    <a:pos x="423" y="94"/>
                  </a:cxn>
                  <a:cxn ang="0">
                    <a:pos x="352" y="94"/>
                  </a:cxn>
                  <a:cxn ang="0">
                    <a:pos x="351" y="66"/>
                  </a:cxn>
                  <a:cxn ang="0">
                    <a:pos x="341" y="33"/>
                  </a:cxn>
                  <a:cxn ang="0">
                    <a:pos x="323" y="17"/>
                  </a:cxn>
                  <a:cxn ang="0">
                    <a:pos x="303" y="5"/>
                  </a:cxn>
                  <a:cxn ang="0">
                    <a:pos x="275" y="0"/>
                  </a:cxn>
                  <a:cxn ang="0">
                    <a:pos x="251" y="2"/>
                  </a:cxn>
                  <a:cxn ang="0">
                    <a:pos x="231" y="15"/>
                  </a:cxn>
                  <a:cxn ang="0">
                    <a:pos x="213" y="33"/>
                  </a:cxn>
                  <a:cxn ang="0">
                    <a:pos x="206" y="62"/>
                  </a:cxn>
                  <a:cxn ang="0">
                    <a:pos x="195" y="92"/>
                  </a:cxn>
                  <a:cxn ang="0">
                    <a:pos x="78" y="91"/>
                  </a:cxn>
                  <a:cxn ang="0">
                    <a:pos x="78" y="231"/>
                  </a:cxn>
                  <a:cxn ang="0">
                    <a:pos x="54" y="225"/>
                  </a:cxn>
                  <a:cxn ang="0">
                    <a:pos x="36" y="231"/>
                  </a:cxn>
                  <a:cxn ang="0">
                    <a:pos x="18" y="249"/>
                  </a:cxn>
                  <a:cxn ang="0">
                    <a:pos x="7" y="272"/>
                  </a:cxn>
                  <a:cxn ang="0">
                    <a:pos x="0" y="299"/>
                  </a:cxn>
                  <a:cxn ang="0">
                    <a:pos x="0" y="323"/>
                  </a:cxn>
                  <a:cxn ang="0">
                    <a:pos x="9" y="356"/>
                  </a:cxn>
                  <a:cxn ang="0">
                    <a:pos x="21" y="374"/>
                  </a:cxn>
                  <a:cxn ang="0">
                    <a:pos x="36" y="393"/>
                  </a:cxn>
                  <a:cxn ang="0">
                    <a:pos x="62" y="395"/>
                  </a:cxn>
                  <a:cxn ang="0">
                    <a:pos x="77" y="392"/>
                  </a:cxn>
                  <a:cxn ang="0">
                    <a:pos x="77" y="530"/>
                  </a:cxn>
                  <a:cxn ang="0">
                    <a:pos x="195" y="530"/>
                  </a:cxn>
                  <a:cxn ang="0">
                    <a:pos x="196" y="552"/>
                  </a:cxn>
                  <a:cxn ang="0">
                    <a:pos x="201" y="581"/>
                  </a:cxn>
                  <a:cxn ang="0">
                    <a:pos x="216" y="600"/>
                  </a:cxn>
                  <a:cxn ang="0">
                    <a:pos x="234" y="614"/>
                  </a:cxn>
                  <a:cxn ang="0">
                    <a:pos x="260" y="617"/>
                  </a:cxn>
                  <a:cxn ang="0">
                    <a:pos x="284" y="615"/>
                  </a:cxn>
                  <a:cxn ang="0">
                    <a:pos x="308" y="608"/>
                  </a:cxn>
                  <a:cxn ang="0">
                    <a:pos x="326" y="593"/>
                  </a:cxn>
                  <a:cxn ang="0">
                    <a:pos x="336" y="575"/>
                  </a:cxn>
                  <a:cxn ang="0">
                    <a:pos x="338" y="548"/>
                  </a:cxn>
                  <a:cxn ang="0">
                    <a:pos x="339" y="529"/>
                  </a:cxn>
                  <a:cxn ang="0">
                    <a:pos x="437" y="532"/>
                  </a:cxn>
                </a:cxnLst>
                <a:rect l="0" t="0" r="r" b="b"/>
                <a:pathLst>
                  <a:path w="468" h="617">
                    <a:moveTo>
                      <a:pt x="437" y="532"/>
                    </a:moveTo>
                    <a:lnTo>
                      <a:pt x="468" y="374"/>
                    </a:lnTo>
                    <a:lnTo>
                      <a:pt x="423" y="94"/>
                    </a:lnTo>
                    <a:lnTo>
                      <a:pt x="352" y="94"/>
                    </a:lnTo>
                    <a:cubicBezTo>
                      <a:pt x="340" y="89"/>
                      <a:pt x="353" y="76"/>
                      <a:pt x="351" y="66"/>
                    </a:cubicBezTo>
                    <a:cubicBezTo>
                      <a:pt x="349" y="56"/>
                      <a:pt x="346" y="41"/>
                      <a:pt x="341" y="33"/>
                    </a:cubicBezTo>
                    <a:lnTo>
                      <a:pt x="323" y="17"/>
                    </a:lnTo>
                    <a:lnTo>
                      <a:pt x="303" y="5"/>
                    </a:lnTo>
                    <a:lnTo>
                      <a:pt x="275" y="0"/>
                    </a:lnTo>
                    <a:lnTo>
                      <a:pt x="251" y="2"/>
                    </a:lnTo>
                    <a:lnTo>
                      <a:pt x="231" y="15"/>
                    </a:lnTo>
                    <a:lnTo>
                      <a:pt x="213" y="33"/>
                    </a:lnTo>
                    <a:cubicBezTo>
                      <a:pt x="209" y="40"/>
                      <a:pt x="209" y="52"/>
                      <a:pt x="206" y="62"/>
                    </a:cubicBezTo>
                    <a:cubicBezTo>
                      <a:pt x="204" y="70"/>
                      <a:pt x="216" y="87"/>
                      <a:pt x="195" y="92"/>
                    </a:cubicBezTo>
                    <a:lnTo>
                      <a:pt x="78" y="91"/>
                    </a:lnTo>
                    <a:lnTo>
                      <a:pt x="78" y="231"/>
                    </a:lnTo>
                    <a:cubicBezTo>
                      <a:pt x="74" y="253"/>
                      <a:pt x="61" y="225"/>
                      <a:pt x="54" y="225"/>
                    </a:cubicBezTo>
                    <a:cubicBezTo>
                      <a:pt x="47" y="225"/>
                      <a:pt x="42" y="228"/>
                      <a:pt x="36" y="231"/>
                    </a:cubicBezTo>
                    <a:lnTo>
                      <a:pt x="18" y="249"/>
                    </a:lnTo>
                    <a:lnTo>
                      <a:pt x="7" y="272"/>
                    </a:lnTo>
                    <a:lnTo>
                      <a:pt x="0" y="299"/>
                    </a:lnTo>
                    <a:lnTo>
                      <a:pt x="0" y="323"/>
                    </a:lnTo>
                    <a:lnTo>
                      <a:pt x="9" y="356"/>
                    </a:lnTo>
                    <a:lnTo>
                      <a:pt x="21" y="374"/>
                    </a:lnTo>
                    <a:lnTo>
                      <a:pt x="36" y="393"/>
                    </a:lnTo>
                    <a:cubicBezTo>
                      <a:pt x="43" y="396"/>
                      <a:pt x="55" y="395"/>
                      <a:pt x="62" y="395"/>
                    </a:cubicBezTo>
                    <a:cubicBezTo>
                      <a:pt x="68" y="395"/>
                      <a:pt x="74" y="369"/>
                      <a:pt x="77" y="392"/>
                    </a:cubicBezTo>
                    <a:lnTo>
                      <a:pt x="77" y="530"/>
                    </a:lnTo>
                    <a:lnTo>
                      <a:pt x="195" y="530"/>
                    </a:lnTo>
                    <a:cubicBezTo>
                      <a:pt x="215" y="534"/>
                      <a:pt x="195" y="544"/>
                      <a:pt x="196" y="552"/>
                    </a:cubicBezTo>
                    <a:cubicBezTo>
                      <a:pt x="198" y="560"/>
                      <a:pt x="197" y="573"/>
                      <a:pt x="201" y="581"/>
                    </a:cubicBezTo>
                    <a:lnTo>
                      <a:pt x="216" y="600"/>
                    </a:lnTo>
                    <a:lnTo>
                      <a:pt x="234" y="614"/>
                    </a:lnTo>
                    <a:lnTo>
                      <a:pt x="260" y="617"/>
                    </a:lnTo>
                    <a:lnTo>
                      <a:pt x="284" y="615"/>
                    </a:lnTo>
                    <a:lnTo>
                      <a:pt x="308" y="608"/>
                    </a:lnTo>
                    <a:lnTo>
                      <a:pt x="326" y="593"/>
                    </a:lnTo>
                    <a:lnTo>
                      <a:pt x="336" y="575"/>
                    </a:lnTo>
                    <a:cubicBezTo>
                      <a:pt x="338" y="568"/>
                      <a:pt x="337" y="556"/>
                      <a:pt x="338" y="548"/>
                    </a:cubicBezTo>
                    <a:cubicBezTo>
                      <a:pt x="339" y="541"/>
                      <a:pt x="316" y="532"/>
                      <a:pt x="339" y="529"/>
                    </a:cubicBezTo>
                    <a:lnTo>
                      <a:pt x="437" y="5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Freeform 13"/>
              <p:cNvSpPr>
                <a:spLocks/>
              </p:cNvSpPr>
              <p:nvPr/>
            </p:nvSpPr>
            <p:spPr bwMode="auto">
              <a:xfrm>
                <a:off x="4564" y="3492"/>
                <a:ext cx="476" cy="517"/>
              </a:xfrm>
              <a:custGeom>
                <a:avLst/>
                <a:gdLst/>
                <a:ahLst/>
                <a:cxnLst>
                  <a:cxn ang="0">
                    <a:pos x="0" y="517"/>
                  </a:cxn>
                  <a:cxn ang="0">
                    <a:pos x="84" y="82"/>
                  </a:cxn>
                  <a:cxn ang="0">
                    <a:pos x="123" y="82"/>
                  </a:cxn>
                  <a:cxn ang="0">
                    <a:pos x="130" y="57"/>
                  </a:cxn>
                  <a:cxn ang="0">
                    <a:pos x="127" y="51"/>
                  </a:cxn>
                  <a:cxn ang="0">
                    <a:pos x="139" y="29"/>
                  </a:cxn>
                  <a:cxn ang="0">
                    <a:pos x="154" y="11"/>
                  </a:cxn>
                  <a:cxn ang="0">
                    <a:pos x="177" y="4"/>
                  </a:cxn>
                  <a:cxn ang="0">
                    <a:pos x="200" y="0"/>
                  </a:cxn>
                  <a:cxn ang="0">
                    <a:pos x="222" y="7"/>
                  </a:cxn>
                  <a:cxn ang="0">
                    <a:pos x="240" y="20"/>
                  </a:cxn>
                  <a:cxn ang="0">
                    <a:pos x="255" y="35"/>
                  </a:cxn>
                  <a:cxn ang="0">
                    <a:pos x="262" y="56"/>
                  </a:cxn>
                  <a:cxn ang="0">
                    <a:pos x="271" y="81"/>
                  </a:cxn>
                  <a:cxn ang="0">
                    <a:pos x="399" y="81"/>
                  </a:cxn>
                  <a:cxn ang="0">
                    <a:pos x="400" y="222"/>
                  </a:cxn>
                  <a:cxn ang="0">
                    <a:pos x="422" y="211"/>
                  </a:cxn>
                  <a:cxn ang="0">
                    <a:pos x="440" y="218"/>
                  </a:cxn>
                  <a:cxn ang="0">
                    <a:pos x="458" y="236"/>
                  </a:cxn>
                  <a:cxn ang="0">
                    <a:pos x="469" y="259"/>
                  </a:cxn>
                  <a:cxn ang="0">
                    <a:pos x="476" y="286"/>
                  </a:cxn>
                  <a:cxn ang="0">
                    <a:pos x="476" y="310"/>
                  </a:cxn>
                  <a:cxn ang="0">
                    <a:pos x="467" y="343"/>
                  </a:cxn>
                  <a:cxn ang="0">
                    <a:pos x="455" y="361"/>
                  </a:cxn>
                  <a:cxn ang="0">
                    <a:pos x="438" y="379"/>
                  </a:cxn>
                  <a:cxn ang="0">
                    <a:pos x="414" y="382"/>
                  </a:cxn>
                  <a:cxn ang="0">
                    <a:pos x="399" y="379"/>
                  </a:cxn>
                  <a:cxn ang="0">
                    <a:pos x="398" y="515"/>
                  </a:cxn>
                  <a:cxn ang="0">
                    <a:pos x="0" y="517"/>
                  </a:cxn>
                </a:cxnLst>
                <a:rect l="0" t="0" r="r" b="b"/>
                <a:pathLst>
                  <a:path w="476" h="517">
                    <a:moveTo>
                      <a:pt x="0" y="517"/>
                    </a:moveTo>
                    <a:lnTo>
                      <a:pt x="84" y="82"/>
                    </a:lnTo>
                    <a:lnTo>
                      <a:pt x="123" y="82"/>
                    </a:lnTo>
                    <a:cubicBezTo>
                      <a:pt x="131" y="78"/>
                      <a:pt x="129" y="62"/>
                      <a:pt x="130" y="57"/>
                    </a:cubicBezTo>
                    <a:cubicBezTo>
                      <a:pt x="131" y="52"/>
                      <a:pt x="126" y="56"/>
                      <a:pt x="127" y="51"/>
                    </a:cubicBezTo>
                    <a:cubicBezTo>
                      <a:pt x="128" y="46"/>
                      <a:pt x="135" y="36"/>
                      <a:pt x="139" y="29"/>
                    </a:cubicBezTo>
                    <a:lnTo>
                      <a:pt x="154" y="11"/>
                    </a:lnTo>
                    <a:lnTo>
                      <a:pt x="177" y="4"/>
                    </a:lnTo>
                    <a:lnTo>
                      <a:pt x="200" y="0"/>
                    </a:lnTo>
                    <a:lnTo>
                      <a:pt x="222" y="7"/>
                    </a:lnTo>
                    <a:lnTo>
                      <a:pt x="240" y="20"/>
                    </a:lnTo>
                    <a:lnTo>
                      <a:pt x="255" y="35"/>
                    </a:lnTo>
                    <a:cubicBezTo>
                      <a:pt x="258" y="41"/>
                      <a:pt x="259" y="48"/>
                      <a:pt x="262" y="56"/>
                    </a:cubicBezTo>
                    <a:cubicBezTo>
                      <a:pt x="264" y="64"/>
                      <a:pt x="248" y="76"/>
                      <a:pt x="271" y="81"/>
                    </a:cubicBezTo>
                    <a:lnTo>
                      <a:pt x="399" y="81"/>
                    </a:lnTo>
                    <a:lnTo>
                      <a:pt x="400" y="222"/>
                    </a:lnTo>
                    <a:cubicBezTo>
                      <a:pt x="404" y="244"/>
                      <a:pt x="415" y="212"/>
                      <a:pt x="422" y="211"/>
                    </a:cubicBezTo>
                    <a:cubicBezTo>
                      <a:pt x="429" y="212"/>
                      <a:pt x="434" y="214"/>
                      <a:pt x="440" y="218"/>
                    </a:cubicBezTo>
                    <a:lnTo>
                      <a:pt x="458" y="236"/>
                    </a:lnTo>
                    <a:lnTo>
                      <a:pt x="469" y="259"/>
                    </a:lnTo>
                    <a:lnTo>
                      <a:pt x="476" y="286"/>
                    </a:lnTo>
                    <a:lnTo>
                      <a:pt x="476" y="310"/>
                    </a:lnTo>
                    <a:lnTo>
                      <a:pt x="467" y="343"/>
                    </a:lnTo>
                    <a:lnTo>
                      <a:pt x="455" y="361"/>
                    </a:lnTo>
                    <a:lnTo>
                      <a:pt x="438" y="379"/>
                    </a:lnTo>
                    <a:cubicBezTo>
                      <a:pt x="431" y="382"/>
                      <a:pt x="420" y="382"/>
                      <a:pt x="414" y="382"/>
                    </a:cubicBezTo>
                    <a:cubicBezTo>
                      <a:pt x="408" y="382"/>
                      <a:pt x="402" y="356"/>
                      <a:pt x="399" y="379"/>
                    </a:cubicBezTo>
                    <a:lnTo>
                      <a:pt x="398" y="515"/>
                    </a:lnTo>
                    <a:lnTo>
                      <a:pt x="0" y="5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Freeform 14"/>
              <p:cNvSpPr>
                <a:spLocks/>
              </p:cNvSpPr>
              <p:nvPr/>
            </p:nvSpPr>
            <p:spPr bwMode="auto">
              <a:xfrm>
                <a:off x="4560" y="2689"/>
                <a:ext cx="483" cy="52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3" y="441"/>
                  </a:cxn>
                  <a:cxn ang="0">
                    <a:pos x="131" y="442"/>
                  </a:cxn>
                  <a:cxn ang="0">
                    <a:pos x="135" y="463"/>
                  </a:cxn>
                  <a:cxn ang="0">
                    <a:pos x="141" y="491"/>
                  </a:cxn>
                  <a:cxn ang="0">
                    <a:pos x="159" y="515"/>
                  </a:cxn>
                  <a:cxn ang="0">
                    <a:pos x="177" y="526"/>
                  </a:cxn>
                  <a:cxn ang="0">
                    <a:pos x="207" y="528"/>
                  </a:cxn>
                  <a:cxn ang="0">
                    <a:pos x="232" y="522"/>
                  </a:cxn>
                  <a:cxn ang="0">
                    <a:pos x="254" y="508"/>
                  </a:cxn>
                  <a:cxn ang="0">
                    <a:pos x="269" y="490"/>
                  </a:cxn>
                  <a:cxn ang="0">
                    <a:pos x="275" y="469"/>
                  </a:cxn>
                  <a:cxn ang="0">
                    <a:pos x="278" y="442"/>
                  </a:cxn>
                  <a:cxn ang="0">
                    <a:pos x="406" y="442"/>
                  </a:cxn>
                  <a:cxn ang="0">
                    <a:pos x="406" y="309"/>
                  </a:cxn>
                  <a:cxn ang="0">
                    <a:pos x="429" y="311"/>
                  </a:cxn>
                  <a:cxn ang="0">
                    <a:pos x="447" y="304"/>
                  </a:cxn>
                  <a:cxn ang="0">
                    <a:pos x="465" y="286"/>
                  </a:cxn>
                  <a:cxn ang="0">
                    <a:pos x="476" y="264"/>
                  </a:cxn>
                  <a:cxn ang="0">
                    <a:pos x="483" y="236"/>
                  </a:cxn>
                  <a:cxn ang="0">
                    <a:pos x="483" y="213"/>
                  </a:cxn>
                  <a:cxn ang="0">
                    <a:pos x="474" y="179"/>
                  </a:cxn>
                  <a:cxn ang="0">
                    <a:pos x="467" y="163"/>
                  </a:cxn>
                  <a:cxn ang="0">
                    <a:pos x="445" y="143"/>
                  </a:cxn>
                  <a:cxn ang="0">
                    <a:pos x="421" y="141"/>
                  </a:cxn>
                  <a:cxn ang="0">
                    <a:pos x="406" y="143"/>
                  </a:cxn>
                  <a:cxn ang="0">
                    <a:pos x="406" y="0"/>
                  </a:cxn>
                  <a:cxn ang="0">
                    <a:pos x="0" y="0"/>
                  </a:cxn>
                </a:cxnLst>
                <a:rect l="0" t="0" r="r" b="b"/>
                <a:pathLst>
                  <a:path w="483" h="528">
                    <a:moveTo>
                      <a:pt x="0" y="0"/>
                    </a:moveTo>
                    <a:lnTo>
                      <a:pt x="83" y="441"/>
                    </a:lnTo>
                    <a:lnTo>
                      <a:pt x="131" y="442"/>
                    </a:lnTo>
                    <a:cubicBezTo>
                      <a:pt x="140" y="446"/>
                      <a:pt x="133" y="455"/>
                      <a:pt x="135" y="463"/>
                    </a:cubicBezTo>
                    <a:cubicBezTo>
                      <a:pt x="137" y="470"/>
                      <a:pt x="136" y="483"/>
                      <a:pt x="141" y="491"/>
                    </a:cubicBezTo>
                    <a:lnTo>
                      <a:pt x="159" y="515"/>
                    </a:lnTo>
                    <a:lnTo>
                      <a:pt x="177" y="526"/>
                    </a:lnTo>
                    <a:lnTo>
                      <a:pt x="207" y="528"/>
                    </a:lnTo>
                    <a:lnTo>
                      <a:pt x="232" y="522"/>
                    </a:lnTo>
                    <a:lnTo>
                      <a:pt x="254" y="508"/>
                    </a:lnTo>
                    <a:lnTo>
                      <a:pt x="269" y="490"/>
                    </a:lnTo>
                    <a:cubicBezTo>
                      <a:pt x="272" y="484"/>
                      <a:pt x="273" y="477"/>
                      <a:pt x="275" y="469"/>
                    </a:cubicBezTo>
                    <a:cubicBezTo>
                      <a:pt x="277" y="461"/>
                      <a:pt x="256" y="446"/>
                      <a:pt x="278" y="442"/>
                    </a:cubicBezTo>
                    <a:lnTo>
                      <a:pt x="406" y="442"/>
                    </a:lnTo>
                    <a:lnTo>
                      <a:pt x="406" y="309"/>
                    </a:lnTo>
                    <a:cubicBezTo>
                      <a:pt x="410" y="287"/>
                      <a:pt x="422" y="312"/>
                      <a:pt x="429" y="311"/>
                    </a:cubicBezTo>
                    <a:cubicBezTo>
                      <a:pt x="436" y="310"/>
                      <a:pt x="441" y="308"/>
                      <a:pt x="447" y="304"/>
                    </a:cubicBezTo>
                    <a:lnTo>
                      <a:pt x="465" y="286"/>
                    </a:lnTo>
                    <a:lnTo>
                      <a:pt x="476" y="264"/>
                    </a:lnTo>
                    <a:lnTo>
                      <a:pt x="483" y="236"/>
                    </a:lnTo>
                    <a:lnTo>
                      <a:pt x="483" y="213"/>
                    </a:lnTo>
                    <a:lnTo>
                      <a:pt x="474" y="179"/>
                    </a:lnTo>
                    <a:lnTo>
                      <a:pt x="467" y="163"/>
                    </a:lnTo>
                    <a:lnTo>
                      <a:pt x="445" y="143"/>
                    </a:lnTo>
                    <a:cubicBezTo>
                      <a:pt x="438" y="139"/>
                      <a:pt x="427" y="141"/>
                      <a:pt x="421" y="141"/>
                    </a:cubicBezTo>
                    <a:cubicBezTo>
                      <a:pt x="415" y="141"/>
                      <a:pt x="409" y="166"/>
                      <a:pt x="406" y="143"/>
                    </a:cubicBezTo>
                    <a:lnTo>
                      <a:pt x="40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15"/>
              <p:cNvSpPr>
                <a:spLocks/>
              </p:cNvSpPr>
              <p:nvPr/>
            </p:nvSpPr>
            <p:spPr bwMode="auto">
              <a:xfrm>
                <a:off x="4641" y="3129"/>
                <a:ext cx="324" cy="44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51" y="247"/>
                  </a:cxn>
                  <a:cxn ang="0">
                    <a:pos x="8" y="445"/>
                  </a:cxn>
                  <a:cxn ang="0">
                    <a:pos x="47" y="446"/>
                  </a:cxn>
                  <a:cxn ang="0">
                    <a:pos x="53" y="424"/>
                  </a:cxn>
                  <a:cxn ang="0">
                    <a:pos x="56" y="405"/>
                  </a:cxn>
                  <a:cxn ang="0">
                    <a:pos x="65" y="386"/>
                  </a:cxn>
                  <a:cxn ang="0">
                    <a:pos x="86" y="371"/>
                  </a:cxn>
                  <a:cxn ang="0">
                    <a:pos x="109" y="365"/>
                  </a:cxn>
                  <a:cxn ang="0">
                    <a:pos x="134" y="366"/>
                  </a:cxn>
                  <a:cxn ang="0">
                    <a:pos x="154" y="376"/>
                  </a:cxn>
                  <a:cxn ang="0">
                    <a:pos x="171" y="389"/>
                  </a:cxn>
                  <a:cxn ang="0">
                    <a:pos x="182" y="417"/>
                  </a:cxn>
                  <a:cxn ang="0">
                    <a:pos x="195" y="444"/>
                  </a:cxn>
                  <a:cxn ang="0">
                    <a:pos x="323" y="443"/>
                  </a:cxn>
                  <a:cxn ang="0">
                    <a:pos x="323" y="301"/>
                  </a:cxn>
                  <a:cxn ang="0">
                    <a:pos x="304" y="306"/>
                  </a:cxn>
                  <a:cxn ang="0">
                    <a:pos x="282" y="301"/>
                  </a:cxn>
                  <a:cxn ang="0">
                    <a:pos x="266" y="284"/>
                  </a:cxn>
                  <a:cxn ang="0">
                    <a:pos x="250" y="256"/>
                  </a:cxn>
                  <a:cxn ang="0">
                    <a:pos x="246" y="223"/>
                  </a:cxn>
                  <a:cxn ang="0">
                    <a:pos x="249" y="194"/>
                  </a:cxn>
                  <a:cxn ang="0">
                    <a:pos x="263" y="161"/>
                  </a:cxn>
                  <a:cxn ang="0">
                    <a:pos x="280" y="143"/>
                  </a:cxn>
                  <a:cxn ang="0">
                    <a:pos x="298" y="136"/>
                  </a:cxn>
                  <a:cxn ang="0">
                    <a:pos x="324" y="138"/>
                  </a:cxn>
                  <a:cxn ang="0">
                    <a:pos x="324" y="0"/>
                  </a:cxn>
                  <a:cxn ang="0">
                    <a:pos x="197" y="1"/>
                  </a:cxn>
                  <a:cxn ang="0">
                    <a:pos x="192" y="34"/>
                  </a:cxn>
                  <a:cxn ang="0">
                    <a:pos x="183" y="57"/>
                  </a:cxn>
                  <a:cxn ang="0">
                    <a:pos x="161" y="77"/>
                  </a:cxn>
                  <a:cxn ang="0">
                    <a:pos x="138" y="87"/>
                  </a:cxn>
                  <a:cxn ang="0">
                    <a:pos x="110" y="89"/>
                  </a:cxn>
                  <a:cxn ang="0">
                    <a:pos x="78" y="70"/>
                  </a:cxn>
                  <a:cxn ang="0">
                    <a:pos x="64" y="51"/>
                  </a:cxn>
                  <a:cxn ang="0">
                    <a:pos x="56" y="24"/>
                  </a:cxn>
                  <a:cxn ang="0">
                    <a:pos x="45" y="2"/>
                  </a:cxn>
                  <a:cxn ang="0">
                    <a:pos x="0" y="2"/>
                  </a:cxn>
                </a:cxnLst>
                <a:rect l="0" t="0" r="r" b="b"/>
                <a:pathLst>
                  <a:path w="324" h="446">
                    <a:moveTo>
                      <a:pt x="0" y="2"/>
                    </a:moveTo>
                    <a:lnTo>
                      <a:pt x="51" y="247"/>
                    </a:lnTo>
                    <a:lnTo>
                      <a:pt x="8" y="445"/>
                    </a:lnTo>
                    <a:lnTo>
                      <a:pt x="47" y="446"/>
                    </a:lnTo>
                    <a:cubicBezTo>
                      <a:pt x="54" y="443"/>
                      <a:pt x="52" y="431"/>
                      <a:pt x="53" y="424"/>
                    </a:cubicBezTo>
                    <a:cubicBezTo>
                      <a:pt x="54" y="418"/>
                      <a:pt x="53" y="411"/>
                      <a:pt x="56" y="405"/>
                    </a:cubicBezTo>
                    <a:cubicBezTo>
                      <a:pt x="58" y="399"/>
                      <a:pt x="60" y="392"/>
                      <a:pt x="65" y="386"/>
                    </a:cubicBezTo>
                    <a:lnTo>
                      <a:pt x="86" y="371"/>
                    </a:lnTo>
                    <a:lnTo>
                      <a:pt x="109" y="365"/>
                    </a:lnTo>
                    <a:lnTo>
                      <a:pt x="134" y="366"/>
                    </a:lnTo>
                    <a:lnTo>
                      <a:pt x="154" y="376"/>
                    </a:lnTo>
                    <a:lnTo>
                      <a:pt x="171" y="389"/>
                    </a:lnTo>
                    <a:lnTo>
                      <a:pt x="182" y="417"/>
                    </a:lnTo>
                    <a:cubicBezTo>
                      <a:pt x="184" y="424"/>
                      <a:pt x="172" y="440"/>
                      <a:pt x="195" y="444"/>
                    </a:cubicBezTo>
                    <a:lnTo>
                      <a:pt x="323" y="443"/>
                    </a:lnTo>
                    <a:lnTo>
                      <a:pt x="323" y="301"/>
                    </a:lnTo>
                    <a:cubicBezTo>
                      <a:pt x="320" y="278"/>
                      <a:pt x="311" y="306"/>
                      <a:pt x="304" y="306"/>
                    </a:cubicBezTo>
                    <a:cubicBezTo>
                      <a:pt x="297" y="306"/>
                      <a:pt x="288" y="304"/>
                      <a:pt x="282" y="301"/>
                    </a:cubicBezTo>
                    <a:cubicBezTo>
                      <a:pt x="276" y="297"/>
                      <a:pt x="271" y="291"/>
                      <a:pt x="266" y="284"/>
                    </a:cubicBezTo>
                    <a:lnTo>
                      <a:pt x="250" y="256"/>
                    </a:lnTo>
                    <a:lnTo>
                      <a:pt x="246" y="223"/>
                    </a:lnTo>
                    <a:lnTo>
                      <a:pt x="249" y="194"/>
                    </a:lnTo>
                    <a:lnTo>
                      <a:pt x="263" y="161"/>
                    </a:lnTo>
                    <a:lnTo>
                      <a:pt x="280" y="143"/>
                    </a:lnTo>
                    <a:cubicBezTo>
                      <a:pt x="286" y="139"/>
                      <a:pt x="291" y="137"/>
                      <a:pt x="298" y="136"/>
                    </a:cubicBezTo>
                    <a:cubicBezTo>
                      <a:pt x="306" y="135"/>
                      <a:pt x="320" y="160"/>
                      <a:pt x="324" y="138"/>
                    </a:cubicBezTo>
                    <a:lnTo>
                      <a:pt x="324" y="0"/>
                    </a:lnTo>
                    <a:lnTo>
                      <a:pt x="197" y="1"/>
                    </a:lnTo>
                    <a:cubicBezTo>
                      <a:pt x="175" y="7"/>
                      <a:pt x="194" y="25"/>
                      <a:pt x="192" y="34"/>
                    </a:cubicBezTo>
                    <a:cubicBezTo>
                      <a:pt x="189" y="44"/>
                      <a:pt x="188" y="50"/>
                      <a:pt x="183" y="57"/>
                    </a:cubicBezTo>
                    <a:lnTo>
                      <a:pt x="161" y="77"/>
                    </a:lnTo>
                    <a:lnTo>
                      <a:pt x="138" y="87"/>
                    </a:lnTo>
                    <a:lnTo>
                      <a:pt x="110" y="89"/>
                    </a:lnTo>
                    <a:lnTo>
                      <a:pt x="78" y="70"/>
                    </a:lnTo>
                    <a:lnTo>
                      <a:pt x="64" y="51"/>
                    </a:lnTo>
                    <a:cubicBezTo>
                      <a:pt x="60" y="44"/>
                      <a:pt x="59" y="32"/>
                      <a:pt x="56" y="24"/>
                    </a:cubicBezTo>
                    <a:cubicBezTo>
                      <a:pt x="54" y="17"/>
                      <a:pt x="54" y="6"/>
                      <a:pt x="45" y="2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16"/>
              <p:cNvSpPr>
                <a:spLocks/>
              </p:cNvSpPr>
              <p:nvPr/>
            </p:nvSpPr>
            <p:spPr bwMode="auto">
              <a:xfrm>
                <a:off x="4962" y="3567"/>
                <a:ext cx="362" cy="441"/>
              </a:xfrm>
              <a:custGeom>
                <a:avLst/>
                <a:gdLst/>
                <a:ahLst/>
                <a:cxnLst>
                  <a:cxn ang="0">
                    <a:pos x="362" y="2"/>
                  </a:cxn>
                  <a:cxn ang="0">
                    <a:pos x="267" y="439"/>
                  </a:cxn>
                  <a:cxn ang="0">
                    <a:pos x="0" y="441"/>
                  </a:cxn>
                  <a:cxn ang="0">
                    <a:pos x="0" y="307"/>
                  </a:cxn>
                  <a:cxn ang="0">
                    <a:pos x="24" y="307"/>
                  </a:cxn>
                  <a:cxn ang="0">
                    <a:pos x="57" y="290"/>
                  </a:cxn>
                  <a:cxn ang="0">
                    <a:pos x="73" y="257"/>
                  </a:cxn>
                  <a:cxn ang="0">
                    <a:pos x="78" y="231"/>
                  </a:cxn>
                  <a:cxn ang="0">
                    <a:pos x="76" y="202"/>
                  </a:cxn>
                  <a:cxn ang="0">
                    <a:pos x="68" y="172"/>
                  </a:cxn>
                  <a:cxn ang="0">
                    <a:pos x="51" y="151"/>
                  </a:cxn>
                  <a:cxn ang="0">
                    <a:pos x="26" y="140"/>
                  </a:cxn>
                  <a:cxn ang="0">
                    <a:pos x="2" y="146"/>
                  </a:cxn>
                  <a:cxn ang="0">
                    <a:pos x="1" y="0"/>
                  </a:cxn>
                  <a:cxn ang="0">
                    <a:pos x="119" y="1"/>
                  </a:cxn>
                  <a:cxn ang="0">
                    <a:pos x="122" y="23"/>
                  </a:cxn>
                  <a:cxn ang="0">
                    <a:pos x="123" y="44"/>
                  </a:cxn>
                  <a:cxn ang="0">
                    <a:pos x="134" y="63"/>
                  </a:cxn>
                  <a:cxn ang="0">
                    <a:pos x="150" y="80"/>
                  </a:cxn>
                  <a:cxn ang="0">
                    <a:pos x="176" y="89"/>
                  </a:cxn>
                  <a:cxn ang="0">
                    <a:pos x="200" y="89"/>
                  </a:cxn>
                  <a:cxn ang="0">
                    <a:pos x="227" y="82"/>
                  </a:cxn>
                  <a:cxn ang="0">
                    <a:pos x="248" y="65"/>
                  </a:cxn>
                  <a:cxn ang="0">
                    <a:pos x="257" y="46"/>
                  </a:cxn>
                  <a:cxn ang="0">
                    <a:pos x="263" y="32"/>
                  </a:cxn>
                  <a:cxn ang="0">
                    <a:pos x="261" y="18"/>
                  </a:cxn>
                  <a:cxn ang="0">
                    <a:pos x="260" y="2"/>
                  </a:cxn>
                  <a:cxn ang="0">
                    <a:pos x="362" y="2"/>
                  </a:cxn>
                </a:cxnLst>
                <a:rect l="0" t="0" r="r" b="b"/>
                <a:pathLst>
                  <a:path w="362" h="441">
                    <a:moveTo>
                      <a:pt x="362" y="2"/>
                    </a:moveTo>
                    <a:lnTo>
                      <a:pt x="267" y="439"/>
                    </a:lnTo>
                    <a:lnTo>
                      <a:pt x="0" y="441"/>
                    </a:lnTo>
                    <a:lnTo>
                      <a:pt x="0" y="307"/>
                    </a:lnTo>
                    <a:cubicBezTo>
                      <a:pt x="4" y="285"/>
                      <a:pt x="15" y="310"/>
                      <a:pt x="24" y="307"/>
                    </a:cubicBezTo>
                    <a:cubicBezTo>
                      <a:pt x="33" y="305"/>
                      <a:pt x="48" y="299"/>
                      <a:pt x="57" y="290"/>
                    </a:cubicBezTo>
                    <a:lnTo>
                      <a:pt x="73" y="257"/>
                    </a:lnTo>
                    <a:lnTo>
                      <a:pt x="78" y="231"/>
                    </a:lnTo>
                    <a:lnTo>
                      <a:pt x="76" y="202"/>
                    </a:lnTo>
                    <a:lnTo>
                      <a:pt x="68" y="172"/>
                    </a:lnTo>
                    <a:cubicBezTo>
                      <a:pt x="64" y="164"/>
                      <a:pt x="58" y="156"/>
                      <a:pt x="51" y="151"/>
                    </a:cubicBezTo>
                    <a:cubicBezTo>
                      <a:pt x="45" y="147"/>
                      <a:pt x="34" y="141"/>
                      <a:pt x="26" y="140"/>
                    </a:cubicBezTo>
                    <a:cubicBezTo>
                      <a:pt x="18" y="138"/>
                      <a:pt x="6" y="169"/>
                      <a:pt x="2" y="146"/>
                    </a:cubicBezTo>
                    <a:lnTo>
                      <a:pt x="1" y="0"/>
                    </a:lnTo>
                    <a:lnTo>
                      <a:pt x="119" y="1"/>
                    </a:lnTo>
                    <a:cubicBezTo>
                      <a:pt x="140" y="4"/>
                      <a:pt x="121" y="16"/>
                      <a:pt x="122" y="23"/>
                    </a:cubicBezTo>
                    <a:cubicBezTo>
                      <a:pt x="121" y="28"/>
                      <a:pt x="122" y="40"/>
                      <a:pt x="123" y="44"/>
                    </a:cubicBezTo>
                    <a:lnTo>
                      <a:pt x="134" y="63"/>
                    </a:lnTo>
                    <a:lnTo>
                      <a:pt x="150" y="80"/>
                    </a:lnTo>
                    <a:lnTo>
                      <a:pt x="176" y="89"/>
                    </a:lnTo>
                    <a:lnTo>
                      <a:pt x="200" y="89"/>
                    </a:lnTo>
                    <a:lnTo>
                      <a:pt x="227" y="82"/>
                    </a:lnTo>
                    <a:lnTo>
                      <a:pt x="248" y="65"/>
                    </a:lnTo>
                    <a:lnTo>
                      <a:pt x="257" y="46"/>
                    </a:lnTo>
                    <a:lnTo>
                      <a:pt x="263" y="32"/>
                    </a:lnTo>
                    <a:cubicBezTo>
                      <a:pt x="263" y="27"/>
                      <a:pt x="262" y="22"/>
                      <a:pt x="261" y="18"/>
                    </a:cubicBezTo>
                    <a:cubicBezTo>
                      <a:pt x="261" y="14"/>
                      <a:pt x="237" y="5"/>
                      <a:pt x="260" y="2"/>
                    </a:cubicBezTo>
                    <a:lnTo>
                      <a:pt x="362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6" name="Group 10"/>
            <p:cNvGrpSpPr>
              <a:grpSpLocks/>
            </p:cNvGrpSpPr>
            <p:nvPr/>
          </p:nvGrpSpPr>
          <p:grpSpPr bwMode="auto">
            <a:xfrm>
              <a:off x="5859968" y="5436815"/>
              <a:ext cx="1822186" cy="1224136"/>
              <a:chOff x="4564" y="2688"/>
              <a:chExt cx="791" cy="1321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57" name="Freeform 11"/>
              <p:cNvSpPr>
                <a:spLocks/>
              </p:cNvSpPr>
              <p:nvPr/>
            </p:nvSpPr>
            <p:spPr bwMode="auto">
              <a:xfrm>
                <a:off x="4963" y="2688"/>
                <a:ext cx="345" cy="44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62" y="1"/>
                  </a:cxn>
                  <a:cxn ang="0">
                    <a:pos x="345" y="447"/>
                  </a:cxn>
                  <a:cxn ang="0">
                    <a:pos x="272" y="444"/>
                  </a:cxn>
                  <a:cxn ang="0">
                    <a:pos x="268" y="399"/>
                  </a:cxn>
                  <a:cxn ang="0">
                    <a:pos x="256" y="375"/>
                  </a:cxn>
                  <a:cxn ang="0">
                    <a:pos x="233" y="357"/>
                  </a:cxn>
                  <a:cxn ang="0">
                    <a:pos x="205" y="351"/>
                  </a:cxn>
                  <a:cxn ang="0">
                    <a:pos x="176" y="353"/>
                  </a:cxn>
                  <a:cxn ang="0">
                    <a:pos x="154" y="369"/>
                  </a:cxn>
                  <a:cxn ang="0">
                    <a:pos x="137" y="387"/>
                  </a:cxn>
                  <a:cxn ang="0">
                    <a:pos x="128" y="419"/>
                  </a:cxn>
                  <a:cxn ang="0">
                    <a:pos x="127" y="442"/>
                  </a:cxn>
                  <a:cxn ang="0">
                    <a:pos x="0" y="442"/>
                  </a:cxn>
                  <a:cxn ang="0">
                    <a:pos x="1" y="310"/>
                  </a:cxn>
                  <a:cxn ang="0">
                    <a:pos x="18" y="305"/>
                  </a:cxn>
                  <a:cxn ang="0">
                    <a:pos x="34" y="311"/>
                  </a:cxn>
                  <a:cxn ang="0">
                    <a:pos x="53" y="299"/>
                  </a:cxn>
                  <a:cxn ang="0">
                    <a:pos x="67" y="276"/>
                  </a:cxn>
                  <a:cxn ang="0">
                    <a:pos x="79" y="249"/>
                  </a:cxn>
                  <a:cxn ang="0">
                    <a:pos x="79" y="221"/>
                  </a:cxn>
                  <a:cxn ang="0">
                    <a:pos x="76" y="191"/>
                  </a:cxn>
                  <a:cxn ang="0">
                    <a:pos x="61" y="161"/>
                  </a:cxn>
                  <a:cxn ang="0">
                    <a:pos x="43" y="144"/>
                  </a:cxn>
                  <a:cxn ang="0">
                    <a:pos x="25" y="141"/>
                  </a:cxn>
                  <a:cxn ang="0">
                    <a:pos x="10" y="149"/>
                  </a:cxn>
                  <a:cxn ang="0">
                    <a:pos x="0" y="138"/>
                  </a:cxn>
                  <a:cxn ang="0">
                    <a:pos x="0" y="0"/>
                  </a:cxn>
                </a:cxnLst>
                <a:rect l="0" t="0" r="r" b="b"/>
                <a:pathLst>
                  <a:path w="345" h="447">
                    <a:moveTo>
                      <a:pt x="0" y="0"/>
                    </a:moveTo>
                    <a:lnTo>
                      <a:pt x="262" y="1"/>
                    </a:lnTo>
                    <a:lnTo>
                      <a:pt x="345" y="447"/>
                    </a:lnTo>
                    <a:lnTo>
                      <a:pt x="272" y="444"/>
                    </a:lnTo>
                    <a:cubicBezTo>
                      <a:pt x="259" y="436"/>
                      <a:pt x="271" y="411"/>
                      <a:pt x="268" y="399"/>
                    </a:cubicBezTo>
                    <a:cubicBezTo>
                      <a:pt x="265" y="389"/>
                      <a:pt x="262" y="384"/>
                      <a:pt x="256" y="375"/>
                    </a:cubicBezTo>
                    <a:lnTo>
                      <a:pt x="233" y="357"/>
                    </a:lnTo>
                    <a:lnTo>
                      <a:pt x="205" y="351"/>
                    </a:lnTo>
                    <a:lnTo>
                      <a:pt x="176" y="353"/>
                    </a:lnTo>
                    <a:lnTo>
                      <a:pt x="154" y="369"/>
                    </a:lnTo>
                    <a:cubicBezTo>
                      <a:pt x="147" y="375"/>
                      <a:pt x="141" y="379"/>
                      <a:pt x="137" y="387"/>
                    </a:cubicBezTo>
                    <a:cubicBezTo>
                      <a:pt x="133" y="394"/>
                      <a:pt x="129" y="411"/>
                      <a:pt x="128" y="419"/>
                    </a:cubicBezTo>
                    <a:cubicBezTo>
                      <a:pt x="126" y="428"/>
                      <a:pt x="148" y="438"/>
                      <a:pt x="127" y="442"/>
                    </a:cubicBezTo>
                    <a:lnTo>
                      <a:pt x="0" y="442"/>
                    </a:lnTo>
                    <a:lnTo>
                      <a:pt x="1" y="310"/>
                    </a:lnTo>
                    <a:cubicBezTo>
                      <a:pt x="4" y="287"/>
                      <a:pt x="13" y="305"/>
                      <a:pt x="18" y="305"/>
                    </a:cubicBezTo>
                    <a:cubicBezTo>
                      <a:pt x="23" y="305"/>
                      <a:pt x="28" y="312"/>
                      <a:pt x="34" y="311"/>
                    </a:cubicBezTo>
                    <a:lnTo>
                      <a:pt x="53" y="299"/>
                    </a:lnTo>
                    <a:lnTo>
                      <a:pt x="67" y="276"/>
                    </a:lnTo>
                    <a:lnTo>
                      <a:pt x="79" y="249"/>
                    </a:lnTo>
                    <a:lnTo>
                      <a:pt x="79" y="221"/>
                    </a:lnTo>
                    <a:lnTo>
                      <a:pt x="76" y="191"/>
                    </a:lnTo>
                    <a:lnTo>
                      <a:pt x="61" y="161"/>
                    </a:lnTo>
                    <a:lnTo>
                      <a:pt x="43" y="144"/>
                    </a:lnTo>
                    <a:lnTo>
                      <a:pt x="25" y="141"/>
                    </a:lnTo>
                    <a:cubicBezTo>
                      <a:pt x="20" y="142"/>
                      <a:pt x="14" y="149"/>
                      <a:pt x="10" y="149"/>
                    </a:cubicBezTo>
                    <a:cubicBezTo>
                      <a:pt x="2" y="156"/>
                      <a:pt x="1" y="162"/>
                      <a:pt x="0" y="13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Freeform 12"/>
              <p:cNvSpPr>
                <a:spLocks/>
              </p:cNvSpPr>
              <p:nvPr/>
            </p:nvSpPr>
            <p:spPr bwMode="auto">
              <a:xfrm>
                <a:off x="4887" y="3039"/>
                <a:ext cx="468" cy="617"/>
              </a:xfrm>
              <a:custGeom>
                <a:avLst/>
                <a:gdLst/>
                <a:ahLst/>
                <a:cxnLst>
                  <a:cxn ang="0">
                    <a:pos x="437" y="532"/>
                  </a:cxn>
                  <a:cxn ang="0">
                    <a:pos x="468" y="374"/>
                  </a:cxn>
                  <a:cxn ang="0">
                    <a:pos x="423" y="94"/>
                  </a:cxn>
                  <a:cxn ang="0">
                    <a:pos x="352" y="94"/>
                  </a:cxn>
                  <a:cxn ang="0">
                    <a:pos x="351" y="66"/>
                  </a:cxn>
                  <a:cxn ang="0">
                    <a:pos x="341" y="33"/>
                  </a:cxn>
                  <a:cxn ang="0">
                    <a:pos x="323" y="17"/>
                  </a:cxn>
                  <a:cxn ang="0">
                    <a:pos x="303" y="5"/>
                  </a:cxn>
                  <a:cxn ang="0">
                    <a:pos x="275" y="0"/>
                  </a:cxn>
                  <a:cxn ang="0">
                    <a:pos x="251" y="2"/>
                  </a:cxn>
                  <a:cxn ang="0">
                    <a:pos x="231" y="15"/>
                  </a:cxn>
                  <a:cxn ang="0">
                    <a:pos x="213" y="33"/>
                  </a:cxn>
                  <a:cxn ang="0">
                    <a:pos x="206" y="62"/>
                  </a:cxn>
                  <a:cxn ang="0">
                    <a:pos x="195" y="92"/>
                  </a:cxn>
                  <a:cxn ang="0">
                    <a:pos x="78" y="91"/>
                  </a:cxn>
                  <a:cxn ang="0">
                    <a:pos x="78" y="231"/>
                  </a:cxn>
                  <a:cxn ang="0">
                    <a:pos x="54" y="225"/>
                  </a:cxn>
                  <a:cxn ang="0">
                    <a:pos x="36" y="231"/>
                  </a:cxn>
                  <a:cxn ang="0">
                    <a:pos x="18" y="249"/>
                  </a:cxn>
                  <a:cxn ang="0">
                    <a:pos x="7" y="272"/>
                  </a:cxn>
                  <a:cxn ang="0">
                    <a:pos x="0" y="299"/>
                  </a:cxn>
                  <a:cxn ang="0">
                    <a:pos x="0" y="323"/>
                  </a:cxn>
                  <a:cxn ang="0">
                    <a:pos x="9" y="356"/>
                  </a:cxn>
                  <a:cxn ang="0">
                    <a:pos x="21" y="374"/>
                  </a:cxn>
                  <a:cxn ang="0">
                    <a:pos x="36" y="393"/>
                  </a:cxn>
                  <a:cxn ang="0">
                    <a:pos x="62" y="395"/>
                  </a:cxn>
                  <a:cxn ang="0">
                    <a:pos x="77" y="392"/>
                  </a:cxn>
                  <a:cxn ang="0">
                    <a:pos x="77" y="530"/>
                  </a:cxn>
                  <a:cxn ang="0">
                    <a:pos x="195" y="530"/>
                  </a:cxn>
                  <a:cxn ang="0">
                    <a:pos x="196" y="552"/>
                  </a:cxn>
                  <a:cxn ang="0">
                    <a:pos x="201" y="581"/>
                  </a:cxn>
                  <a:cxn ang="0">
                    <a:pos x="216" y="600"/>
                  </a:cxn>
                  <a:cxn ang="0">
                    <a:pos x="234" y="614"/>
                  </a:cxn>
                  <a:cxn ang="0">
                    <a:pos x="260" y="617"/>
                  </a:cxn>
                  <a:cxn ang="0">
                    <a:pos x="284" y="615"/>
                  </a:cxn>
                  <a:cxn ang="0">
                    <a:pos x="308" y="608"/>
                  </a:cxn>
                  <a:cxn ang="0">
                    <a:pos x="326" y="593"/>
                  </a:cxn>
                  <a:cxn ang="0">
                    <a:pos x="336" y="575"/>
                  </a:cxn>
                  <a:cxn ang="0">
                    <a:pos x="338" y="548"/>
                  </a:cxn>
                  <a:cxn ang="0">
                    <a:pos x="339" y="529"/>
                  </a:cxn>
                  <a:cxn ang="0">
                    <a:pos x="437" y="532"/>
                  </a:cxn>
                </a:cxnLst>
                <a:rect l="0" t="0" r="r" b="b"/>
                <a:pathLst>
                  <a:path w="468" h="617">
                    <a:moveTo>
                      <a:pt x="437" y="532"/>
                    </a:moveTo>
                    <a:lnTo>
                      <a:pt x="468" y="374"/>
                    </a:lnTo>
                    <a:lnTo>
                      <a:pt x="423" y="94"/>
                    </a:lnTo>
                    <a:lnTo>
                      <a:pt x="352" y="94"/>
                    </a:lnTo>
                    <a:cubicBezTo>
                      <a:pt x="340" y="89"/>
                      <a:pt x="353" y="76"/>
                      <a:pt x="351" y="66"/>
                    </a:cubicBezTo>
                    <a:cubicBezTo>
                      <a:pt x="349" y="56"/>
                      <a:pt x="346" y="41"/>
                      <a:pt x="341" y="33"/>
                    </a:cubicBezTo>
                    <a:lnTo>
                      <a:pt x="323" y="17"/>
                    </a:lnTo>
                    <a:lnTo>
                      <a:pt x="303" y="5"/>
                    </a:lnTo>
                    <a:lnTo>
                      <a:pt x="275" y="0"/>
                    </a:lnTo>
                    <a:lnTo>
                      <a:pt x="251" y="2"/>
                    </a:lnTo>
                    <a:lnTo>
                      <a:pt x="231" y="15"/>
                    </a:lnTo>
                    <a:lnTo>
                      <a:pt x="213" y="33"/>
                    </a:lnTo>
                    <a:cubicBezTo>
                      <a:pt x="209" y="40"/>
                      <a:pt x="209" y="52"/>
                      <a:pt x="206" y="62"/>
                    </a:cubicBezTo>
                    <a:cubicBezTo>
                      <a:pt x="204" y="70"/>
                      <a:pt x="216" y="87"/>
                      <a:pt x="195" y="92"/>
                    </a:cubicBezTo>
                    <a:lnTo>
                      <a:pt x="78" y="91"/>
                    </a:lnTo>
                    <a:lnTo>
                      <a:pt x="78" y="231"/>
                    </a:lnTo>
                    <a:cubicBezTo>
                      <a:pt x="74" y="253"/>
                      <a:pt x="61" y="225"/>
                      <a:pt x="54" y="225"/>
                    </a:cubicBezTo>
                    <a:cubicBezTo>
                      <a:pt x="47" y="225"/>
                      <a:pt x="42" y="228"/>
                      <a:pt x="36" y="231"/>
                    </a:cubicBezTo>
                    <a:lnTo>
                      <a:pt x="18" y="249"/>
                    </a:lnTo>
                    <a:lnTo>
                      <a:pt x="7" y="272"/>
                    </a:lnTo>
                    <a:lnTo>
                      <a:pt x="0" y="299"/>
                    </a:lnTo>
                    <a:lnTo>
                      <a:pt x="0" y="323"/>
                    </a:lnTo>
                    <a:lnTo>
                      <a:pt x="9" y="356"/>
                    </a:lnTo>
                    <a:lnTo>
                      <a:pt x="21" y="374"/>
                    </a:lnTo>
                    <a:lnTo>
                      <a:pt x="36" y="393"/>
                    </a:lnTo>
                    <a:cubicBezTo>
                      <a:pt x="43" y="396"/>
                      <a:pt x="55" y="395"/>
                      <a:pt x="62" y="395"/>
                    </a:cubicBezTo>
                    <a:cubicBezTo>
                      <a:pt x="68" y="395"/>
                      <a:pt x="74" y="369"/>
                      <a:pt x="77" y="392"/>
                    </a:cubicBezTo>
                    <a:lnTo>
                      <a:pt x="77" y="530"/>
                    </a:lnTo>
                    <a:lnTo>
                      <a:pt x="195" y="530"/>
                    </a:lnTo>
                    <a:cubicBezTo>
                      <a:pt x="215" y="534"/>
                      <a:pt x="195" y="544"/>
                      <a:pt x="196" y="552"/>
                    </a:cubicBezTo>
                    <a:cubicBezTo>
                      <a:pt x="198" y="560"/>
                      <a:pt x="197" y="573"/>
                      <a:pt x="201" y="581"/>
                    </a:cubicBezTo>
                    <a:lnTo>
                      <a:pt x="216" y="600"/>
                    </a:lnTo>
                    <a:lnTo>
                      <a:pt x="234" y="614"/>
                    </a:lnTo>
                    <a:lnTo>
                      <a:pt x="260" y="617"/>
                    </a:lnTo>
                    <a:lnTo>
                      <a:pt x="284" y="615"/>
                    </a:lnTo>
                    <a:lnTo>
                      <a:pt x="308" y="608"/>
                    </a:lnTo>
                    <a:lnTo>
                      <a:pt x="326" y="593"/>
                    </a:lnTo>
                    <a:lnTo>
                      <a:pt x="336" y="575"/>
                    </a:lnTo>
                    <a:cubicBezTo>
                      <a:pt x="338" y="568"/>
                      <a:pt x="337" y="556"/>
                      <a:pt x="338" y="548"/>
                    </a:cubicBezTo>
                    <a:cubicBezTo>
                      <a:pt x="339" y="541"/>
                      <a:pt x="316" y="532"/>
                      <a:pt x="339" y="529"/>
                    </a:cubicBezTo>
                    <a:lnTo>
                      <a:pt x="437" y="5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9" name="Freeform 13"/>
              <p:cNvSpPr>
                <a:spLocks/>
              </p:cNvSpPr>
              <p:nvPr/>
            </p:nvSpPr>
            <p:spPr bwMode="auto">
              <a:xfrm>
                <a:off x="4564" y="3492"/>
                <a:ext cx="476" cy="517"/>
              </a:xfrm>
              <a:custGeom>
                <a:avLst/>
                <a:gdLst/>
                <a:ahLst/>
                <a:cxnLst>
                  <a:cxn ang="0">
                    <a:pos x="0" y="517"/>
                  </a:cxn>
                  <a:cxn ang="0">
                    <a:pos x="84" y="82"/>
                  </a:cxn>
                  <a:cxn ang="0">
                    <a:pos x="123" y="82"/>
                  </a:cxn>
                  <a:cxn ang="0">
                    <a:pos x="130" y="57"/>
                  </a:cxn>
                  <a:cxn ang="0">
                    <a:pos x="127" y="51"/>
                  </a:cxn>
                  <a:cxn ang="0">
                    <a:pos x="139" y="29"/>
                  </a:cxn>
                  <a:cxn ang="0">
                    <a:pos x="154" y="11"/>
                  </a:cxn>
                  <a:cxn ang="0">
                    <a:pos x="177" y="4"/>
                  </a:cxn>
                  <a:cxn ang="0">
                    <a:pos x="200" y="0"/>
                  </a:cxn>
                  <a:cxn ang="0">
                    <a:pos x="222" y="7"/>
                  </a:cxn>
                  <a:cxn ang="0">
                    <a:pos x="240" y="20"/>
                  </a:cxn>
                  <a:cxn ang="0">
                    <a:pos x="255" y="35"/>
                  </a:cxn>
                  <a:cxn ang="0">
                    <a:pos x="262" y="56"/>
                  </a:cxn>
                  <a:cxn ang="0">
                    <a:pos x="271" y="81"/>
                  </a:cxn>
                  <a:cxn ang="0">
                    <a:pos x="399" y="81"/>
                  </a:cxn>
                  <a:cxn ang="0">
                    <a:pos x="400" y="222"/>
                  </a:cxn>
                  <a:cxn ang="0">
                    <a:pos x="422" y="211"/>
                  </a:cxn>
                  <a:cxn ang="0">
                    <a:pos x="440" y="218"/>
                  </a:cxn>
                  <a:cxn ang="0">
                    <a:pos x="458" y="236"/>
                  </a:cxn>
                  <a:cxn ang="0">
                    <a:pos x="469" y="259"/>
                  </a:cxn>
                  <a:cxn ang="0">
                    <a:pos x="476" y="286"/>
                  </a:cxn>
                  <a:cxn ang="0">
                    <a:pos x="476" y="310"/>
                  </a:cxn>
                  <a:cxn ang="0">
                    <a:pos x="467" y="343"/>
                  </a:cxn>
                  <a:cxn ang="0">
                    <a:pos x="455" y="361"/>
                  </a:cxn>
                  <a:cxn ang="0">
                    <a:pos x="438" y="379"/>
                  </a:cxn>
                  <a:cxn ang="0">
                    <a:pos x="414" y="382"/>
                  </a:cxn>
                  <a:cxn ang="0">
                    <a:pos x="399" y="379"/>
                  </a:cxn>
                  <a:cxn ang="0">
                    <a:pos x="398" y="515"/>
                  </a:cxn>
                  <a:cxn ang="0">
                    <a:pos x="0" y="517"/>
                  </a:cxn>
                </a:cxnLst>
                <a:rect l="0" t="0" r="r" b="b"/>
                <a:pathLst>
                  <a:path w="476" h="517">
                    <a:moveTo>
                      <a:pt x="0" y="517"/>
                    </a:moveTo>
                    <a:lnTo>
                      <a:pt x="84" y="82"/>
                    </a:lnTo>
                    <a:lnTo>
                      <a:pt x="123" y="82"/>
                    </a:lnTo>
                    <a:cubicBezTo>
                      <a:pt x="131" y="78"/>
                      <a:pt x="129" y="62"/>
                      <a:pt x="130" y="57"/>
                    </a:cubicBezTo>
                    <a:cubicBezTo>
                      <a:pt x="131" y="52"/>
                      <a:pt x="126" y="56"/>
                      <a:pt x="127" y="51"/>
                    </a:cubicBezTo>
                    <a:cubicBezTo>
                      <a:pt x="128" y="46"/>
                      <a:pt x="135" y="36"/>
                      <a:pt x="139" y="29"/>
                    </a:cubicBezTo>
                    <a:lnTo>
                      <a:pt x="154" y="11"/>
                    </a:lnTo>
                    <a:lnTo>
                      <a:pt x="177" y="4"/>
                    </a:lnTo>
                    <a:lnTo>
                      <a:pt x="200" y="0"/>
                    </a:lnTo>
                    <a:lnTo>
                      <a:pt x="222" y="7"/>
                    </a:lnTo>
                    <a:lnTo>
                      <a:pt x="240" y="20"/>
                    </a:lnTo>
                    <a:lnTo>
                      <a:pt x="255" y="35"/>
                    </a:lnTo>
                    <a:cubicBezTo>
                      <a:pt x="258" y="41"/>
                      <a:pt x="259" y="48"/>
                      <a:pt x="262" y="56"/>
                    </a:cubicBezTo>
                    <a:cubicBezTo>
                      <a:pt x="264" y="64"/>
                      <a:pt x="248" y="76"/>
                      <a:pt x="271" y="81"/>
                    </a:cubicBezTo>
                    <a:lnTo>
                      <a:pt x="399" y="81"/>
                    </a:lnTo>
                    <a:lnTo>
                      <a:pt x="400" y="222"/>
                    </a:lnTo>
                    <a:cubicBezTo>
                      <a:pt x="404" y="244"/>
                      <a:pt x="415" y="212"/>
                      <a:pt x="422" y="211"/>
                    </a:cubicBezTo>
                    <a:cubicBezTo>
                      <a:pt x="429" y="212"/>
                      <a:pt x="434" y="214"/>
                      <a:pt x="440" y="218"/>
                    </a:cubicBezTo>
                    <a:lnTo>
                      <a:pt x="458" y="236"/>
                    </a:lnTo>
                    <a:lnTo>
                      <a:pt x="469" y="259"/>
                    </a:lnTo>
                    <a:lnTo>
                      <a:pt x="476" y="286"/>
                    </a:lnTo>
                    <a:lnTo>
                      <a:pt x="476" y="310"/>
                    </a:lnTo>
                    <a:lnTo>
                      <a:pt x="467" y="343"/>
                    </a:lnTo>
                    <a:lnTo>
                      <a:pt x="455" y="361"/>
                    </a:lnTo>
                    <a:lnTo>
                      <a:pt x="438" y="379"/>
                    </a:lnTo>
                    <a:cubicBezTo>
                      <a:pt x="431" y="382"/>
                      <a:pt x="420" y="382"/>
                      <a:pt x="414" y="382"/>
                    </a:cubicBezTo>
                    <a:cubicBezTo>
                      <a:pt x="408" y="382"/>
                      <a:pt x="402" y="356"/>
                      <a:pt x="399" y="379"/>
                    </a:cubicBezTo>
                    <a:lnTo>
                      <a:pt x="398" y="515"/>
                    </a:lnTo>
                    <a:lnTo>
                      <a:pt x="0" y="5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Freeform 14"/>
              <p:cNvSpPr>
                <a:spLocks/>
              </p:cNvSpPr>
              <p:nvPr/>
            </p:nvSpPr>
            <p:spPr bwMode="auto">
              <a:xfrm>
                <a:off x="4597" y="2808"/>
                <a:ext cx="483" cy="52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3" y="441"/>
                  </a:cxn>
                  <a:cxn ang="0">
                    <a:pos x="131" y="442"/>
                  </a:cxn>
                  <a:cxn ang="0">
                    <a:pos x="135" y="463"/>
                  </a:cxn>
                  <a:cxn ang="0">
                    <a:pos x="141" y="491"/>
                  </a:cxn>
                  <a:cxn ang="0">
                    <a:pos x="159" y="515"/>
                  </a:cxn>
                  <a:cxn ang="0">
                    <a:pos x="177" y="526"/>
                  </a:cxn>
                  <a:cxn ang="0">
                    <a:pos x="207" y="528"/>
                  </a:cxn>
                  <a:cxn ang="0">
                    <a:pos x="232" y="522"/>
                  </a:cxn>
                  <a:cxn ang="0">
                    <a:pos x="254" y="508"/>
                  </a:cxn>
                  <a:cxn ang="0">
                    <a:pos x="269" y="490"/>
                  </a:cxn>
                  <a:cxn ang="0">
                    <a:pos x="275" y="469"/>
                  </a:cxn>
                  <a:cxn ang="0">
                    <a:pos x="278" y="442"/>
                  </a:cxn>
                  <a:cxn ang="0">
                    <a:pos x="406" y="442"/>
                  </a:cxn>
                  <a:cxn ang="0">
                    <a:pos x="406" y="309"/>
                  </a:cxn>
                  <a:cxn ang="0">
                    <a:pos x="429" y="311"/>
                  </a:cxn>
                  <a:cxn ang="0">
                    <a:pos x="447" y="304"/>
                  </a:cxn>
                  <a:cxn ang="0">
                    <a:pos x="465" y="286"/>
                  </a:cxn>
                  <a:cxn ang="0">
                    <a:pos x="476" y="264"/>
                  </a:cxn>
                  <a:cxn ang="0">
                    <a:pos x="483" y="236"/>
                  </a:cxn>
                  <a:cxn ang="0">
                    <a:pos x="483" y="213"/>
                  </a:cxn>
                  <a:cxn ang="0">
                    <a:pos x="474" y="179"/>
                  </a:cxn>
                  <a:cxn ang="0">
                    <a:pos x="467" y="163"/>
                  </a:cxn>
                  <a:cxn ang="0">
                    <a:pos x="445" y="143"/>
                  </a:cxn>
                  <a:cxn ang="0">
                    <a:pos x="421" y="141"/>
                  </a:cxn>
                  <a:cxn ang="0">
                    <a:pos x="406" y="143"/>
                  </a:cxn>
                  <a:cxn ang="0">
                    <a:pos x="406" y="0"/>
                  </a:cxn>
                  <a:cxn ang="0">
                    <a:pos x="0" y="0"/>
                  </a:cxn>
                </a:cxnLst>
                <a:rect l="0" t="0" r="r" b="b"/>
                <a:pathLst>
                  <a:path w="483" h="528">
                    <a:moveTo>
                      <a:pt x="0" y="0"/>
                    </a:moveTo>
                    <a:lnTo>
                      <a:pt x="83" y="441"/>
                    </a:lnTo>
                    <a:lnTo>
                      <a:pt x="131" y="442"/>
                    </a:lnTo>
                    <a:cubicBezTo>
                      <a:pt x="140" y="446"/>
                      <a:pt x="133" y="455"/>
                      <a:pt x="135" y="463"/>
                    </a:cubicBezTo>
                    <a:cubicBezTo>
                      <a:pt x="137" y="470"/>
                      <a:pt x="136" y="483"/>
                      <a:pt x="141" y="491"/>
                    </a:cubicBezTo>
                    <a:lnTo>
                      <a:pt x="159" y="515"/>
                    </a:lnTo>
                    <a:lnTo>
                      <a:pt x="177" y="526"/>
                    </a:lnTo>
                    <a:lnTo>
                      <a:pt x="207" y="528"/>
                    </a:lnTo>
                    <a:lnTo>
                      <a:pt x="232" y="522"/>
                    </a:lnTo>
                    <a:lnTo>
                      <a:pt x="254" y="508"/>
                    </a:lnTo>
                    <a:lnTo>
                      <a:pt x="269" y="490"/>
                    </a:lnTo>
                    <a:cubicBezTo>
                      <a:pt x="272" y="484"/>
                      <a:pt x="273" y="477"/>
                      <a:pt x="275" y="469"/>
                    </a:cubicBezTo>
                    <a:cubicBezTo>
                      <a:pt x="277" y="461"/>
                      <a:pt x="256" y="446"/>
                      <a:pt x="278" y="442"/>
                    </a:cubicBezTo>
                    <a:lnTo>
                      <a:pt x="406" y="442"/>
                    </a:lnTo>
                    <a:lnTo>
                      <a:pt x="406" y="309"/>
                    </a:lnTo>
                    <a:cubicBezTo>
                      <a:pt x="410" y="287"/>
                      <a:pt x="422" y="312"/>
                      <a:pt x="429" y="311"/>
                    </a:cubicBezTo>
                    <a:cubicBezTo>
                      <a:pt x="436" y="310"/>
                      <a:pt x="441" y="308"/>
                      <a:pt x="447" y="304"/>
                    </a:cubicBezTo>
                    <a:lnTo>
                      <a:pt x="465" y="286"/>
                    </a:lnTo>
                    <a:lnTo>
                      <a:pt x="476" y="264"/>
                    </a:lnTo>
                    <a:lnTo>
                      <a:pt x="483" y="236"/>
                    </a:lnTo>
                    <a:lnTo>
                      <a:pt x="483" y="213"/>
                    </a:lnTo>
                    <a:lnTo>
                      <a:pt x="474" y="179"/>
                    </a:lnTo>
                    <a:lnTo>
                      <a:pt x="467" y="163"/>
                    </a:lnTo>
                    <a:lnTo>
                      <a:pt x="445" y="143"/>
                    </a:lnTo>
                    <a:cubicBezTo>
                      <a:pt x="438" y="139"/>
                      <a:pt x="427" y="141"/>
                      <a:pt x="421" y="141"/>
                    </a:cubicBezTo>
                    <a:cubicBezTo>
                      <a:pt x="415" y="141"/>
                      <a:pt x="409" y="166"/>
                      <a:pt x="406" y="143"/>
                    </a:cubicBezTo>
                    <a:lnTo>
                      <a:pt x="40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1" name="Freeform 15"/>
              <p:cNvSpPr>
                <a:spLocks/>
              </p:cNvSpPr>
              <p:nvPr/>
            </p:nvSpPr>
            <p:spPr bwMode="auto">
              <a:xfrm>
                <a:off x="4641" y="3129"/>
                <a:ext cx="324" cy="44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51" y="247"/>
                  </a:cxn>
                  <a:cxn ang="0">
                    <a:pos x="8" y="445"/>
                  </a:cxn>
                  <a:cxn ang="0">
                    <a:pos x="47" y="446"/>
                  </a:cxn>
                  <a:cxn ang="0">
                    <a:pos x="53" y="424"/>
                  </a:cxn>
                  <a:cxn ang="0">
                    <a:pos x="56" y="405"/>
                  </a:cxn>
                  <a:cxn ang="0">
                    <a:pos x="65" y="386"/>
                  </a:cxn>
                  <a:cxn ang="0">
                    <a:pos x="86" y="371"/>
                  </a:cxn>
                  <a:cxn ang="0">
                    <a:pos x="109" y="365"/>
                  </a:cxn>
                  <a:cxn ang="0">
                    <a:pos x="134" y="366"/>
                  </a:cxn>
                  <a:cxn ang="0">
                    <a:pos x="154" y="376"/>
                  </a:cxn>
                  <a:cxn ang="0">
                    <a:pos x="171" y="389"/>
                  </a:cxn>
                  <a:cxn ang="0">
                    <a:pos x="182" y="417"/>
                  </a:cxn>
                  <a:cxn ang="0">
                    <a:pos x="195" y="444"/>
                  </a:cxn>
                  <a:cxn ang="0">
                    <a:pos x="323" y="443"/>
                  </a:cxn>
                  <a:cxn ang="0">
                    <a:pos x="323" y="301"/>
                  </a:cxn>
                  <a:cxn ang="0">
                    <a:pos x="304" y="306"/>
                  </a:cxn>
                  <a:cxn ang="0">
                    <a:pos x="282" y="301"/>
                  </a:cxn>
                  <a:cxn ang="0">
                    <a:pos x="266" y="284"/>
                  </a:cxn>
                  <a:cxn ang="0">
                    <a:pos x="250" y="256"/>
                  </a:cxn>
                  <a:cxn ang="0">
                    <a:pos x="246" y="223"/>
                  </a:cxn>
                  <a:cxn ang="0">
                    <a:pos x="249" y="194"/>
                  </a:cxn>
                  <a:cxn ang="0">
                    <a:pos x="263" y="161"/>
                  </a:cxn>
                  <a:cxn ang="0">
                    <a:pos x="280" y="143"/>
                  </a:cxn>
                  <a:cxn ang="0">
                    <a:pos x="298" y="136"/>
                  </a:cxn>
                  <a:cxn ang="0">
                    <a:pos x="324" y="138"/>
                  </a:cxn>
                  <a:cxn ang="0">
                    <a:pos x="324" y="0"/>
                  </a:cxn>
                  <a:cxn ang="0">
                    <a:pos x="197" y="1"/>
                  </a:cxn>
                  <a:cxn ang="0">
                    <a:pos x="192" y="34"/>
                  </a:cxn>
                  <a:cxn ang="0">
                    <a:pos x="183" y="57"/>
                  </a:cxn>
                  <a:cxn ang="0">
                    <a:pos x="161" y="77"/>
                  </a:cxn>
                  <a:cxn ang="0">
                    <a:pos x="138" y="87"/>
                  </a:cxn>
                  <a:cxn ang="0">
                    <a:pos x="110" y="89"/>
                  </a:cxn>
                  <a:cxn ang="0">
                    <a:pos x="78" y="70"/>
                  </a:cxn>
                  <a:cxn ang="0">
                    <a:pos x="64" y="51"/>
                  </a:cxn>
                  <a:cxn ang="0">
                    <a:pos x="56" y="24"/>
                  </a:cxn>
                  <a:cxn ang="0">
                    <a:pos x="45" y="2"/>
                  </a:cxn>
                  <a:cxn ang="0">
                    <a:pos x="0" y="2"/>
                  </a:cxn>
                </a:cxnLst>
                <a:rect l="0" t="0" r="r" b="b"/>
                <a:pathLst>
                  <a:path w="324" h="446">
                    <a:moveTo>
                      <a:pt x="0" y="2"/>
                    </a:moveTo>
                    <a:lnTo>
                      <a:pt x="51" y="247"/>
                    </a:lnTo>
                    <a:lnTo>
                      <a:pt x="8" y="445"/>
                    </a:lnTo>
                    <a:lnTo>
                      <a:pt x="47" y="446"/>
                    </a:lnTo>
                    <a:cubicBezTo>
                      <a:pt x="54" y="443"/>
                      <a:pt x="52" y="431"/>
                      <a:pt x="53" y="424"/>
                    </a:cubicBezTo>
                    <a:cubicBezTo>
                      <a:pt x="54" y="418"/>
                      <a:pt x="53" y="411"/>
                      <a:pt x="56" y="405"/>
                    </a:cubicBezTo>
                    <a:cubicBezTo>
                      <a:pt x="58" y="399"/>
                      <a:pt x="60" y="392"/>
                      <a:pt x="65" y="386"/>
                    </a:cubicBezTo>
                    <a:lnTo>
                      <a:pt x="86" y="371"/>
                    </a:lnTo>
                    <a:lnTo>
                      <a:pt x="109" y="365"/>
                    </a:lnTo>
                    <a:lnTo>
                      <a:pt x="134" y="366"/>
                    </a:lnTo>
                    <a:lnTo>
                      <a:pt x="154" y="376"/>
                    </a:lnTo>
                    <a:lnTo>
                      <a:pt x="171" y="389"/>
                    </a:lnTo>
                    <a:lnTo>
                      <a:pt x="182" y="417"/>
                    </a:lnTo>
                    <a:cubicBezTo>
                      <a:pt x="184" y="424"/>
                      <a:pt x="172" y="440"/>
                      <a:pt x="195" y="444"/>
                    </a:cubicBezTo>
                    <a:lnTo>
                      <a:pt x="323" y="443"/>
                    </a:lnTo>
                    <a:lnTo>
                      <a:pt x="323" y="301"/>
                    </a:lnTo>
                    <a:cubicBezTo>
                      <a:pt x="320" y="278"/>
                      <a:pt x="311" y="306"/>
                      <a:pt x="304" y="306"/>
                    </a:cubicBezTo>
                    <a:cubicBezTo>
                      <a:pt x="297" y="306"/>
                      <a:pt x="288" y="304"/>
                      <a:pt x="282" y="301"/>
                    </a:cubicBezTo>
                    <a:cubicBezTo>
                      <a:pt x="276" y="297"/>
                      <a:pt x="271" y="291"/>
                      <a:pt x="266" y="284"/>
                    </a:cubicBezTo>
                    <a:lnTo>
                      <a:pt x="250" y="256"/>
                    </a:lnTo>
                    <a:lnTo>
                      <a:pt x="246" y="223"/>
                    </a:lnTo>
                    <a:lnTo>
                      <a:pt x="249" y="194"/>
                    </a:lnTo>
                    <a:lnTo>
                      <a:pt x="263" y="161"/>
                    </a:lnTo>
                    <a:lnTo>
                      <a:pt x="280" y="143"/>
                    </a:lnTo>
                    <a:cubicBezTo>
                      <a:pt x="286" y="139"/>
                      <a:pt x="291" y="137"/>
                      <a:pt x="298" y="136"/>
                    </a:cubicBezTo>
                    <a:cubicBezTo>
                      <a:pt x="306" y="135"/>
                      <a:pt x="320" y="160"/>
                      <a:pt x="324" y="138"/>
                    </a:cubicBezTo>
                    <a:lnTo>
                      <a:pt x="324" y="0"/>
                    </a:lnTo>
                    <a:lnTo>
                      <a:pt x="197" y="1"/>
                    </a:lnTo>
                    <a:cubicBezTo>
                      <a:pt x="175" y="7"/>
                      <a:pt x="194" y="25"/>
                      <a:pt x="192" y="34"/>
                    </a:cubicBezTo>
                    <a:cubicBezTo>
                      <a:pt x="189" y="44"/>
                      <a:pt x="188" y="50"/>
                      <a:pt x="183" y="57"/>
                    </a:cubicBezTo>
                    <a:lnTo>
                      <a:pt x="161" y="77"/>
                    </a:lnTo>
                    <a:lnTo>
                      <a:pt x="138" y="87"/>
                    </a:lnTo>
                    <a:lnTo>
                      <a:pt x="110" y="89"/>
                    </a:lnTo>
                    <a:lnTo>
                      <a:pt x="78" y="70"/>
                    </a:lnTo>
                    <a:lnTo>
                      <a:pt x="64" y="51"/>
                    </a:lnTo>
                    <a:cubicBezTo>
                      <a:pt x="60" y="44"/>
                      <a:pt x="59" y="32"/>
                      <a:pt x="56" y="24"/>
                    </a:cubicBezTo>
                    <a:cubicBezTo>
                      <a:pt x="54" y="17"/>
                      <a:pt x="54" y="6"/>
                      <a:pt x="45" y="2"/>
                    </a:cubicBezTo>
                    <a:lnTo>
                      <a:pt x="0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Freeform 16"/>
              <p:cNvSpPr>
                <a:spLocks/>
              </p:cNvSpPr>
              <p:nvPr/>
            </p:nvSpPr>
            <p:spPr bwMode="auto">
              <a:xfrm>
                <a:off x="4962" y="3567"/>
                <a:ext cx="362" cy="441"/>
              </a:xfrm>
              <a:custGeom>
                <a:avLst/>
                <a:gdLst/>
                <a:ahLst/>
                <a:cxnLst>
                  <a:cxn ang="0">
                    <a:pos x="362" y="2"/>
                  </a:cxn>
                  <a:cxn ang="0">
                    <a:pos x="267" y="439"/>
                  </a:cxn>
                  <a:cxn ang="0">
                    <a:pos x="0" y="441"/>
                  </a:cxn>
                  <a:cxn ang="0">
                    <a:pos x="0" y="307"/>
                  </a:cxn>
                  <a:cxn ang="0">
                    <a:pos x="24" y="307"/>
                  </a:cxn>
                  <a:cxn ang="0">
                    <a:pos x="57" y="290"/>
                  </a:cxn>
                  <a:cxn ang="0">
                    <a:pos x="73" y="257"/>
                  </a:cxn>
                  <a:cxn ang="0">
                    <a:pos x="78" y="231"/>
                  </a:cxn>
                  <a:cxn ang="0">
                    <a:pos x="76" y="202"/>
                  </a:cxn>
                  <a:cxn ang="0">
                    <a:pos x="68" y="172"/>
                  </a:cxn>
                  <a:cxn ang="0">
                    <a:pos x="51" y="151"/>
                  </a:cxn>
                  <a:cxn ang="0">
                    <a:pos x="26" y="140"/>
                  </a:cxn>
                  <a:cxn ang="0">
                    <a:pos x="2" y="146"/>
                  </a:cxn>
                  <a:cxn ang="0">
                    <a:pos x="1" y="0"/>
                  </a:cxn>
                  <a:cxn ang="0">
                    <a:pos x="119" y="1"/>
                  </a:cxn>
                  <a:cxn ang="0">
                    <a:pos x="122" y="23"/>
                  </a:cxn>
                  <a:cxn ang="0">
                    <a:pos x="123" y="44"/>
                  </a:cxn>
                  <a:cxn ang="0">
                    <a:pos x="134" y="63"/>
                  </a:cxn>
                  <a:cxn ang="0">
                    <a:pos x="150" y="80"/>
                  </a:cxn>
                  <a:cxn ang="0">
                    <a:pos x="176" y="89"/>
                  </a:cxn>
                  <a:cxn ang="0">
                    <a:pos x="200" y="89"/>
                  </a:cxn>
                  <a:cxn ang="0">
                    <a:pos x="227" y="82"/>
                  </a:cxn>
                  <a:cxn ang="0">
                    <a:pos x="248" y="65"/>
                  </a:cxn>
                  <a:cxn ang="0">
                    <a:pos x="257" y="46"/>
                  </a:cxn>
                  <a:cxn ang="0">
                    <a:pos x="263" y="32"/>
                  </a:cxn>
                  <a:cxn ang="0">
                    <a:pos x="261" y="18"/>
                  </a:cxn>
                  <a:cxn ang="0">
                    <a:pos x="260" y="2"/>
                  </a:cxn>
                  <a:cxn ang="0">
                    <a:pos x="362" y="2"/>
                  </a:cxn>
                </a:cxnLst>
                <a:rect l="0" t="0" r="r" b="b"/>
                <a:pathLst>
                  <a:path w="362" h="441">
                    <a:moveTo>
                      <a:pt x="362" y="2"/>
                    </a:moveTo>
                    <a:lnTo>
                      <a:pt x="267" y="439"/>
                    </a:lnTo>
                    <a:lnTo>
                      <a:pt x="0" y="441"/>
                    </a:lnTo>
                    <a:lnTo>
                      <a:pt x="0" y="307"/>
                    </a:lnTo>
                    <a:cubicBezTo>
                      <a:pt x="4" y="285"/>
                      <a:pt x="15" y="310"/>
                      <a:pt x="24" y="307"/>
                    </a:cubicBezTo>
                    <a:cubicBezTo>
                      <a:pt x="33" y="305"/>
                      <a:pt x="48" y="299"/>
                      <a:pt x="57" y="290"/>
                    </a:cubicBezTo>
                    <a:lnTo>
                      <a:pt x="73" y="257"/>
                    </a:lnTo>
                    <a:lnTo>
                      <a:pt x="78" y="231"/>
                    </a:lnTo>
                    <a:lnTo>
                      <a:pt x="76" y="202"/>
                    </a:lnTo>
                    <a:lnTo>
                      <a:pt x="68" y="172"/>
                    </a:lnTo>
                    <a:cubicBezTo>
                      <a:pt x="64" y="164"/>
                      <a:pt x="58" y="156"/>
                      <a:pt x="51" y="151"/>
                    </a:cubicBezTo>
                    <a:cubicBezTo>
                      <a:pt x="45" y="147"/>
                      <a:pt x="34" y="141"/>
                      <a:pt x="26" y="140"/>
                    </a:cubicBezTo>
                    <a:cubicBezTo>
                      <a:pt x="18" y="138"/>
                      <a:pt x="6" y="169"/>
                      <a:pt x="2" y="146"/>
                    </a:cubicBezTo>
                    <a:lnTo>
                      <a:pt x="1" y="0"/>
                    </a:lnTo>
                    <a:lnTo>
                      <a:pt x="119" y="1"/>
                    </a:lnTo>
                    <a:cubicBezTo>
                      <a:pt x="140" y="4"/>
                      <a:pt x="121" y="16"/>
                      <a:pt x="122" y="23"/>
                    </a:cubicBezTo>
                    <a:cubicBezTo>
                      <a:pt x="121" y="28"/>
                      <a:pt x="122" y="40"/>
                      <a:pt x="123" y="44"/>
                    </a:cubicBezTo>
                    <a:lnTo>
                      <a:pt x="134" y="63"/>
                    </a:lnTo>
                    <a:lnTo>
                      <a:pt x="150" y="80"/>
                    </a:lnTo>
                    <a:lnTo>
                      <a:pt x="176" y="89"/>
                    </a:lnTo>
                    <a:lnTo>
                      <a:pt x="200" y="89"/>
                    </a:lnTo>
                    <a:lnTo>
                      <a:pt x="227" y="82"/>
                    </a:lnTo>
                    <a:lnTo>
                      <a:pt x="248" y="65"/>
                    </a:lnTo>
                    <a:lnTo>
                      <a:pt x="257" y="46"/>
                    </a:lnTo>
                    <a:lnTo>
                      <a:pt x="263" y="32"/>
                    </a:lnTo>
                    <a:cubicBezTo>
                      <a:pt x="263" y="27"/>
                      <a:pt x="262" y="22"/>
                      <a:pt x="261" y="18"/>
                    </a:cubicBezTo>
                    <a:cubicBezTo>
                      <a:pt x="261" y="14"/>
                      <a:pt x="237" y="5"/>
                      <a:pt x="260" y="2"/>
                    </a:cubicBezTo>
                    <a:lnTo>
                      <a:pt x="362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tx2">
                    <a:lumMod val="40000"/>
                    <a:lumOff val="6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defTabSz="1018644"/>
                <a:endParaRPr lang="en-US" sz="1100" b="1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3" name="Rectangle 62"/>
            <p:cNvSpPr/>
            <p:nvPr/>
          </p:nvSpPr>
          <p:spPr>
            <a:xfrm>
              <a:off x="6210796" y="2412479"/>
              <a:ext cx="1440160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rtl="1"/>
              <a:r>
                <a:rPr lang="ar-AE" sz="2000" b="1" dirty="0" smtClean="0"/>
                <a:t>الم</a:t>
              </a:r>
              <a:r>
                <a:rPr lang="ar-SA" sz="2000" b="1" dirty="0" err="1" smtClean="0"/>
                <a:t>حتوى</a:t>
              </a:r>
              <a:r>
                <a:rPr lang="ar-SA" sz="2000" b="1" dirty="0" smtClean="0"/>
                <a:t> </a:t>
              </a:r>
              <a:r>
                <a:rPr lang="ar-AE" sz="2000" b="1" dirty="0" smtClean="0"/>
                <a:t>والتقييم</a:t>
              </a:r>
              <a:endParaRPr lang="en-GB" sz="2000" b="1" dirty="0"/>
            </a:p>
          </p:txBody>
        </p:sp>
        <p:sp>
          <p:nvSpPr>
            <p:cNvPr id="64" name="Rectangle 63"/>
            <p:cNvSpPr/>
            <p:nvPr/>
          </p:nvSpPr>
          <p:spPr>
            <a:xfrm>
              <a:off x="6060387" y="4212275"/>
              <a:ext cx="1296143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018644" rtl="1">
                <a:spcAft>
                  <a:spcPts val="500"/>
                </a:spcAft>
                <a:buSzPct val="75000"/>
              </a:pPr>
              <a:r>
                <a:rPr lang="ar-AE" sz="2000" b="1" dirty="0" smtClean="0">
                  <a:solidFill>
                    <a:prstClr val="black"/>
                  </a:solidFill>
                </a:rPr>
                <a:t>الج</a:t>
              </a:r>
              <a:r>
                <a:rPr lang="ar-SA" sz="2000" b="1" dirty="0" err="1" smtClean="0">
                  <a:solidFill>
                    <a:prstClr val="black"/>
                  </a:solidFill>
                </a:rPr>
                <a:t>اهزية</a:t>
              </a:r>
              <a:r>
                <a:rPr lang="ar-AE" sz="2000" b="1" dirty="0" smtClean="0">
                  <a:solidFill>
                    <a:prstClr val="black"/>
                  </a:solidFill>
                </a:rPr>
                <a:t> والنفاذ</a:t>
              </a:r>
              <a:endParaRPr lang="en-US" sz="2000" b="1" dirty="0" smtClean="0">
                <a:solidFill>
                  <a:prstClr val="black"/>
                </a:solidFill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007525" y="5752857"/>
              <a:ext cx="1440160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018644" rtl="1">
                <a:spcAft>
                  <a:spcPts val="500"/>
                </a:spcAft>
                <a:buSzPct val="75000"/>
              </a:pPr>
              <a:r>
                <a:rPr lang="ar-AE" sz="2000" b="1" dirty="0" smtClean="0">
                  <a:solidFill>
                    <a:prstClr val="black"/>
                  </a:solidFill>
                </a:rPr>
                <a:t>بيئة / ثقافة التعلّم</a:t>
              </a:r>
              <a:endParaRPr lang="en-US" sz="2000" b="1" dirty="0" smtClean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2220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114452" y="2988543"/>
            <a:ext cx="4176465" cy="1473428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 fontScale="82500" lnSpcReduction="10000"/>
          </a:bodyPr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r>
              <a:rPr lang="ar-AE" dirty="0" smtClean="0">
                <a:solidFill>
                  <a:prstClr val="white"/>
                </a:solidFill>
              </a:rPr>
              <a:t>التعلّم الإلكتروني في ال</a:t>
            </a:r>
            <a:r>
              <a:rPr lang="ar-SA" dirty="0" smtClean="0">
                <a:solidFill>
                  <a:prstClr val="white"/>
                </a:solidFill>
              </a:rPr>
              <a:t>مملكة العربية السعودية</a:t>
            </a:r>
            <a:endParaRPr lang="en-GB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439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690517" y="108225"/>
            <a:ext cx="6840760" cy="1080119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 fontScale="90000"/>
          </a:bodyPr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rtl="1"/>
            <a:r>
              <a:rPr lang="ar-AE" dirty="0" smtClean="0">
                <a:solidFill>
                  <a:prstClr val="white"/>
                </a:solidFill>
              </a:rPr>
              <a:t>التعلّم الإلكتروني في السياق السعودي</a:t>
            </a:r>
            <a:endParaRPr lang="en-GB" dirty="0" smtClean="0">
              <a:solidFill>
                <a:prstClr val="white"/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 flipH="1">
            <a:off x="146508" y="1844551"/>
            <a:ext cx="9880714" cy="4762978"/>
            <a:chOff x="146507" y="1844551"/>
            <a:chExt cx="9880714" cy="4762977"/>
          </a:xfrm>
        </p:grpSpPr>
        <p:sp>
          <p:nvSpPr>
            <p:cNvPr id="10" name="Rectangle 34"/>
            <p:cNvSpPr>
              <a:spLocks noChangeArrowheads="1"/>
            </p:cNvSpPr>
            <p:nvPr/>
          </p:nvSpPr>
          <p:spPr bwMode="gray">
            <a:xfrm>
              <a:off x="362530" y="1844551"/>
              <a:ext cx="3688025" cy="5969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tIns="91440" bIns="91440" anchor="ctr"/>
            <a:lstStyle/>
            <a:p>
              <a:pPr algn="ctr" rtl="1"/>
              <a:r>
                <a:rPr lang="ar-AE" sz="2000" b="1" dirty="0" smtClean="0">
                  <a:solidFill>
                    <a:schemeClr val="bg1"/>
                  </a:solidFill>
                </a:rPr>
                <a:t>الديناميكيات في السياق السعودي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Rectangle 35"/>
            <p:cNvSpPr>
              <a:spLocks noChangeArrowheads="1"/>
            </p:cNvSpPr>
            <p:nvPr/>
          </p:nvSpPr>
          <p:spPr bwMode="gray">
            <a:xfrm>
              <a:off x="306140" y="2571626"/>
              <a:ext cx="3616017" cy="10922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tIns="91440" rIns="54000" bIns="91440"/>
            <a:lstStyle/>
            <a:p>
              <a:pPr marL="112693" indent="9524" algn="r" rtl="1">
                <a:buClr>
                  <a:schemeClr val="tx2"/>
                </a:buClr>
              </a:pPr>
              <a:r>
                <a:rPr lang="ar-AE" sz="1800" b="1" dirty="0" smtClean="0"/>
                <a:t>بغية تحقيق أهداف التوطين، يتعين إعادة تأهيل </a:t>
              </a:r>
              <a:r>
                <a:rPr lang="ar-SA" sz="1800" b="1" dirty="0" smtClean="0"/>
                <a:t>أكثر من </a:t>
              </a:r>
              <a:r>
                <a:rPr lang="ar-AE" sz="1800" b="1" dirty="0" smtClean="0"/>
                <a:t>مليون سعودي لتزويدهم بالمهارات الضرورية لفرص العمل المتوفرة </a:t>
              </a:r>
              <a:endParaRPr lang="en-US" sz="1800" b="1" dirty="0"/>
            </a:p>
          </p:txBody>
        </p:sp>
        <p:sp>
          <p:nvSpPr>
            <p:cNvPr id="21" name="Rectangle 38"/>
            <p:cNvSpPr>
              <a:spLocks noChangeArrowheads="1"/>
            </p:cNvSpPr>
            <p:nvPr/>
          </p:nvSpPr>
          <p:spPr bwMode="gray">
            <a:xfrm>
              <a:off x="6354812" y="1844551"/>
              <a:ext cx="3672408" cy="596900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tIns="91440" bIns="91440" anchor="ctr"/>
            <a:lstStyle/>
            <a:p>
              <a:pPr algn="ctr" rtl="1"/>
              <a:r>
                <a:rPr lang="ar-AE" sz="2000" b="1" dirty="0" smtClean="0">
                  <a:solidFill>
                    <a:schemeClr val="bg1"/>
                  </a:solidFill>
                </a:rPr>
                <a:t>منافع التعلّم الإلكتروني</a:t>
              </a:r>
              <a:endParaRPr lang="en-US" sz="2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3" name="Rectangle 46"/>
            <p:cNvSpPr>
              <a:spLocks noChangeArrowheads="1"/>
            </p:cNvSpPr>
            <p:nvPr/>
          </p:nvSpPr>
          <p:spPr bwMode="gray">
            <a:xfrm>
              <a:off x="362530" y="3708623"/>
              <a:ext cx="3327985" cy="73866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tIns="91440" rIns="54000" bIns="91440">
              <a:spAutoFit/>
            </a:bodyPr>
            <a:lstStyle/>
            <a:p>
              <a:pPr algn="r" rtl="1">
                <a:buClr>
                  <a:schemeClr val="tx2"/>
                </a:buClr>
              </a:pPr>
              <a:r>
                <a:rPr lang="ar-AE" sz="1800" b="1" dirty="0" smtClean="0"/>
                <a:t>أكثر من 85% من مرشحي حافز من النساء اللواتي يعانين من صعوبات التنقّل </a:t>
              </a:r>
              <a:endParaRPr lang="en-US" sz="1800" b="1" dirty="0" smtClean="0"/>
            </a:p>
          </p:txBody>
        </p:sp>
        <p:sp>
          <p:nvSpPr>
            <p:cNvPr id="27" name="Line 56"/>
            <p:cNvSpPr>
              <a:spLocks noChangeShapeType="1"/>
            </p:cNvSpPr>
            <p:nvPr/>
          </p:nvSpPr>
          <p:spPr bwMode="auto">
            <a:xfrm>
              <a:off x="162124" y="3708623"/>
              <a:ext cx="3976057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prstDash val="dash"/>
              <a:round/>
              <a:headEnd type="none" w="lg" len="lg"/>
              <a:tailEnd type="none" w="lg" len="lg"/>
            </a:ln>
            <a:effectLst/>
          </p:spPr>
          <p:txBody>
            <a:bodyPr wrap="none" tIns="91440" bIns="91440" anchor="ctr"/>
            <a:lstStyle/>
            <a:p>
              <a:endParaRPr lang="en-US" sz="1400" dirty="0"/>
            </a:p>
          </p:txBody>
        </p:sp>
        <p:sp>
          <p:nvSpPr>
            <p:cNvPr id="28" name="Line 57"/>
            <p:cNvSpPr>
              <a:spLocks noChangeShapeType="1"/>
            </p:cNvSpPr>
            <p:nvPr/>
          </p:nvSpPr>
          <p:spPr bwMode="auto">
            <a:xfrm>
              <a:off x="362531" y="5170273"/>
              <a:ext cx="8962571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prstDash val="dash"/>
              <a:round/>
              <a:headEnd type="none" w="lg" len="lg"/>
              <a:tailEnd type="none" w="lg" len="lg"/>
            </a:ln>
            <a:effectLst/>
          </p:spPr>
          <p:txBody>
            <a:bodyPr wrap="none" tIns="91440" bIns="91440" anchor="ctr"/>
            <a:lstStyle/>
            <a:p>
              <a:endParaRPr lang="en-US" sz="1400" dirty="0"/>
            </a:p>
          </p:txBody>
        </p:sp>
        <p:sp>
          <p:nvSpPr>
            <p:cNvPr id="29" name="AutoShape 37"/>
            <p:cNvSpPr>
              <a:spLocks noChangeArrowheads="1"/>
            </p:cNvSpPr>
            <p:nvPr/>
          </p:nvSpPr>
          <p:spPr bwMode="gray">
            <a:xfrm>
              <a:off x="4410596" y="3821767"/>
              <a:ext cx="1371600" cy="822960"/>
            </a:xfrm>
            <a:prstGeom prst="rightArrow">
              <a:avLst>
                <a:gd name="adj1" fmla="val 68201"/>
                <a:gd name="adj2" fmla="val 26346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lIns="54000" tIns="91440" rIns="18000" bIns="91440" anchor="ctr"/>
            <a:lstStyle/>
            <a:p>
              <a:pPr algn="ctr">
                <a:buClr>
                  <a:schemeClr val="tx2"/>
                </a:buClr>
              </a:pPr>
              <a:endParaRPr lang="en-US" sz="1600" dirty="0"/>
            </a:p>
          </p:txBody>
        </p:sp>
        <p:sp>
          <p:nvSpPr>
            <p:cNvPr id="16" name="Rectangle 46"/>
            <p:cNvSpPr>
              <a:spLocks noChangeArrowheads="1"/>
            </p:cNvSpPr>
            <p:nvPr/>
          </p:nvSpPr>
          <p:spPr bwMode="gray">
            <a:xfrm>
              <a:off x="362531" y="4860751"/>
              <a:ext cx="3327985" cy="73866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tIns="91440" rIns="54000" bIns="91440">
              <a:spAutoFit/>
            </a:bodyPr>
            <a:lstStyle/>
            <a:p>
              <a:pPr algn="r" rtl="1">
                <a:buClr>
                  <a:schemeClr val="tx2"/>
                </a:buClr>
              </a:pPr>
              <a:r>
                <a:rPr lang="ar-SA" sz="1800" b="1" dirty="0" smtClean="0"/>
                <a:t>شريحة</a:t>
              </a:r>
              <a:r>
                <a:rPr lang="ar-AE" sz="1800" b="1" dirty="0" smtClean="0"/>
                <a:t> من </a:t>
              </a:r>
              <a:r>
                <a:rPr lang="ar-SA" sz="1800" b="1" dirty="0" smtClean="0"/>
                <a:t>المسجلين في برنامج </a:t>
              </a:r>
              <a:r>
                <a:rPr lang="ar-AE" sz="1800" b="1" dirty="0" smtClean="0"/>
                <a:t> حافز أميين أو </a:t>
              </a:r>
              <a:r>
                <a:rPr lang="ar-SA" sz="1800" b="1" dirty="0" smtClean="0"/>
                <a:t>من الأشخاص ذوي الإعاقة</a:t>
              </a:r>
              <a:endParaRPr lang="en-US" sz="1800" b="1" dirty="0" smtClean="0"/>
            </a:p>
          </p:txBody>
        </p:sp>
        <p:sp>
          <p:nvSpPr>
            <p:cNvPr id="17" name="Line 56"/>
            <p:cNvSpPr>
              <a:spLocks noChangeShapeType="1"/>
            </p:cNvSpPr>
            <p:nvPr/>
          </p:nvSpPr>
          <p:spPr bwMode="auto">
            <a:xfrm>
              <a:off x="146507" y="4716735"/>
              <a:ext cx="3976057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prstDash val="dash"/>
              <a:round/>
              <a:headEnd type="none" w="lg" len="lg"/>
              <a:tailEnd type="none" w="lg" len="lg"/>
            </a:ln>
            <a:effectLst/>
          </p:spPr>
          <p:txBody>
            <a:bodyPr wrap="none" tIns="91440" bIns="91440" anchor="ctr"/>
            <a:lstStyle/>
            <a:p>
              <a:endParaRPr lang="en-US" sz="1400" dirty="0"/>
            </a:p>
          </p:txBody>
        </p:sp>
        <p:sp>
          <p:nvSpPr>
            <p:cNvPr id="30" name="Line 56"/>
            <p:cNvSpPr>
              <a:spLocks noChangeShapeType="1"/>
            </p:cNvSpPr>
            <p:nvPr/>
          </p:nvSpPr>
          <p:spPr bwMode="auto">
            <a:xfrm>
              <a:off x="162124" y="5652839"/>
              <a:ext cx="3976057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  <a:prstDash val="dash"/>
              <a:round/>
              <a:headEnd type="none" w="lg" len="lg"/>
              <a:tailEnd type="none" w="lg" len="lg"/>
            </a:ln>
            <a:effectLst/>
          </p:spPr>
          <p:txBody>
            <a:bodyPr wrap="none" tIns="91440" bIns="91440" anchor="ctr"/>
            <a:lstStyle/>
            <a:p>
              <a:endParaRPr lang="en-US" sz="1400" dirty="0"/>
            </a:p>
          </p:txBody>
        </p:sp>
        <p:sp>
          <p:nvSpPr>
            <p:cNvPr id="31" name="AutoShape 37"/>
            <p:cNvSpPr>
              <a:spLocks noChangeArrowheads="1"/>
            </p:cNvSpPr>
            <p:nvPr/>
          </p:nvSpPr>
          <p:spPr bwMode="gray">
            <a:xfrm>
              <a:off x="4410596" y="5076775"/>
              <a:ext cx="1371600" cy="822960"/>
            </a:xfrm>
            <a:prstGeom prst="rightArrow">
              <a:avLst>
                <a:gd name="adj1" fmla="val 68201"/>
                <a:gd name="adj2" fmla="val 26346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lIns="54000" tIns="91440" rIns="18000" bIns="91440" anchor="ctr"/>
            <a:lstStyle/>
            <a:p>
              <a:pPr algn="ctr">
                <a:buClr>
                  <a:schemeClr val="tx2"/>
                </a:buClr>
              </a:pPr>
              <a:endParaRPr lang="en-US" sz="1600" dirty="0"/>
            </a:p>
          </p:txBody>
        </p:sp>
        <p:sp>
          <p:nvSpPr>
            <p:cNvPr id="32" name="Round Single Corner Rectangle 31"/>
            <p:cNvSpPr/>
            <p:nvPr/>
          </p:nvSpPr>
          <p:spPr>
            <a:xfrm>
              <a:off x="6354812" y="2628504"/>
              <a:ext cx="3672409" cy="792087"/>
            </a:xfrm>
            <a:prstGeom prst="round1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AE" sz="1800" b="1" dirty="0" smtClean="0"/>
                <a:t>التعلّم الإلكتروني يوفر طريقة غير مكلفة للوصول إلى </a:t>
              </a:r>
              <a:r>
                <a:rPr lang="ar-SA" sz="1800" b="1" dirty="0" smtClean="0"/>
                <a:t>أكبر عدد من الفئة المستهدفة</a:t>
              </a:r>
              <a:endParaRPr lang="en-GB" sz="1800" b="1" dirty="0"/>
            </a:p>
          </p:txBody>
        </p:sp>
        <p:sp>
          <p:nvSpPr>
            <p:cNvPr id="33" name="Round Single Corner Rectangle 32"/>
            <p:cNvSpPr/>
            <p:nvPr/>
          </p:nvSpPr>
          <p:spPr>
            <a:xfrm>
              <a:off x="6354811" y="3708623"/>
              <a:ext cx="3672409" cy="792087"/>
            </a:xfrm>
            <a:prstGeom prst="round1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AE" sz="1800" b="1" dirty="0" smtClean="0"/>
                <a:t>يسمح التعلّم الإلكتروني للنساء بالتعلّم والحصول على الشهادات </a:t>
              </a:r>
              <a:r>
                <a:rPr lang="ar-SA" sz="1800" b="1" dirty="0" smtClean="0"/>
                <a:t>والمؤهلات </a:t>
              </a:r>
              <a:r>
                <a:rPr lang="ar-AE" sz="1800" b="1" dirty="0" smtClean="0"/>
                <a:t>من منازلهم </a:t>
              </a:r>
              <a:endParaRPr lang="en-US" sz="1800" b="1" dirty="0" smtClean="0"/>
            </a:p>
          </p:txBody>
        </p:sp>
        <p:sp>
          <p:nvSpPr>
            <p:cNvPr id="34" name="Round Single Corner Rectangle 33"/>
            <p:cNvSpPr/>
            <p:nvPr/>
          </p:nvSpPr>
          <p:spPr>
            <a:xfrm>
              <a:off x="6354812" y="4788744"/>
              <a:ext cx="3672409" cy="792087"/>
            </a:xfrm>
            <a:prstGeom prst="round1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AE" sz="1800" b="1" dirty="0" smtClean="0"/>
                <a:t>يستخدم التعلّم الإلكتروني المساعدات البصرية والسمعية لتسهيل عملية التعلّم على الأميين والمعوقين </a:t>
              </a:r>
              <a:endParaRPr lang="en-US" sz="1800" b="1" dirty="0" smtClean="0"/>
            </a:p>
          </p:txBody>
        </p:sp>
        <p:sp>
          <p:nvSpPr>
            <p:cNvPr id="19" name="AutoShape 37"/>
            <p:cNvSpPr>
              <a:spLocks noChangeArrowheads="1"/>
            </p:cNvSpPr>
            <p:nvPr/>
          </p:nvSpPr>
          <p:spPr bwMode="gray">
            <a:xfrm>
              <a:off x="4410596" y="2700511"/>
              <a:ext cx="1371600" cy="822960"/>
            </a:xfrm>
            <a:prstGeom prst="rightArrow">
              <a:avLst>
                <a:gd name="adj1" fmla="val 68201"/>
                <a:gd name="adj2" fmla="val 26346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lIns="54000" tIns="91440" rIns="18000" bIns="91440" anchor="ctr"/>
            <a:lstStyle/>
            <a:p>
              <a:pPr algn="ctr">
                <a:buClr>
                  <a:schemeClr val="tx2"/>
                </a:buClr>
              </a:pPr>
              <a:endParaRPr lang="en-US" sz="1600" dirty="0"/>
            </a:p>
          </p:txBody>
        </p:sp>
        <p:sp>
          <p:nvSpPr>
            <p:cNvPr id="22" name="Rectangle 46"/>
            <p:cNvSpPr>
              <a:spLocks noChangeArrowheads="1"/>
            </p:cNvSpPr>
            <p:nvPr/>
          </p:nvSpPr>
          <p:spPr bwMode="gray">
            <a:xfrm>
              <a:off x="378148" y="5868864"/>
              <a:ext cx="3327985" cy="73866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tIns="91440" rIns="54000" bIns="91440">
              <a:spAutoFit/>
            </a:bodyPr>
            <a:lstStyle/>
            <a:p>
              <a:pPr algn="r" rtl="1">
                <a:buClr>
                  <a:schemeClr val="tx2"/>
                </a:buClr>
              </a:pPr>
              <a:r>
                <a:rPr lang="ar-AE" sz="1800" b="1" dirty="0" smtClean="0"/>
                <a:t>تفاوت في جودة وقدرات قطاع التدريب المحلي</a:t>
              </a:r>
              <a:endParaRPr lang="en-US" sz="1800" b="1" dirty="0" smtClean="0"/>
            </a:p>
          </p:txBody>
        </p:sp>
        <p:sp>
          <p:nvSpPr>
            <p:cNvPr id="24" name="Round Single Corner Rectangle 23"/>
            <p:cNvSpPr/>
            <p:nvPr/>
          </p:nvSpPr>
          <p:spPr>
            <a:xfrm>
              <a:off x="6354812" y="5796855"/>
              <a:ext cx="3672409" cy="792087"/>
            </a:xfrm>
            <a:prstGeom prst="round1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rtl="1"/>
              <a:r>
                <a:rPr lang="ar-AE" sz="1800" b="1" dirty="0" smtClean="0"/>
                <a:t>يسهل التعلّم الإلكتروني الوصول إلى معايير </a:t>
              </a:r>
              <a:r>
                <a:rPr lang="ar-SA" sz="1800" b="1" dirty="0" smtClean="0"/>
                <a:t>موحدة للجودة </a:t>
              </a:r>
              <a:r>
                <a:rPr lang="ar-AE" sz="1800" b="1" dirty="0" smtClean="0">
                  <a:solidFill>
                    <a:schemeClr val="bg1"/>
                  </a:solidFill>
                </a:rPr>
                <a:t>واختبار</a:t>
              </a:r>
              <a:r>
                <a:rPr lang="ar-SA" sz="1800" b="1" dirty="0" smtClean="0">
                  <a:solidFill>
                    <a:schemeClr val="bg1"/>
                  </a:solidFill>
                </a:rPr>
                <a:t>ات</a:t>
              </a:r>
              <a:r>
                <a:rPr lang="ar-AE" sz="1800" b="1" dirty="0" smtClean="0"/>
                <a:t>/شهادات مستقلة</a:t>
              </a:r>
              <a:endParaRPr lang="en-US" sz="1800" b="1" dirty="0" smtClean="0"/>
            </a:p>
          </p:txBody>
        </p:sp>
      </p:grpSp>
    </p:spTree>
    <p:extLst>
      <p:ext uri="{BB962C8B-B14F-4D97-AF65-F5344CB8AC3E}">
        <p14:creationId xmlns:p14="http://schemas.microsoft.com/office/powerpoint/2010/main" val="392584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690517" y="108225"/>
            <a:ext cx="6840760" cy="1080119"/>
          </a:xfrm>
          <a:prstGeom prst="rect">
            <a:avLst/>
          </a:prstGeom>
        </p:spPr>
        <p:txBody>
          <a:bodyPr vert="horz" lIns="104287" tIns="52144" rIns="104287" bIns="52144" rtlCol="0" anchor="ctr">
            <a:normAutofit fontScale="75000" lnSpcReduction="20000"/>
          </a:bodyPr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1"/>
            <a:r>
              <a:rPr lang="ar-AE" dirty="0" smtClean="0">
                <a:solidFill>
                  <a:prstClr val="white"/>
                </a:solidFill>
              </a:rPr>
              <a:t>التحديات أمام التعلّم الإلكتروني في المملكة</a:t>
            </a:r>
            <a:endParaRPr lang="en-GB" dirty="0" smtClean="0">
              <a:solidFill>
                <a:prstClr val="white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46700" y="1605698"/>
            <a:ext cx="5046542" cy="523204"/>
          </a:xfrm>
          <a:prstGeom prst="rect">
            <a:avLst/>
          </a:prstGeom>
          <a:noFill/>
        </p:spPr>
        <p:txBody>
          <a:bodyPr wrap="none" lIns="91424" tIns="45712" rIns="91424" bIns="45712" rtlCol="0">
            <a:spAutoFit/>
          </a:bodyPr>
          <a:lstStyle/>
          <a:p>
            <a:pPr rtl="1"/>
            <a:r>
              <a:rPr lang="ar-AE" sz="2800" b="1" dirty="0" smtClean="0">
                <a:solidFill>
                  <a:srgbClr val="FFC000"/>
                </a:solidFill>
              </a:rPr>
              <a:t>التحديات أمام التعلّم الإلكتروني في المملكة</a:t>
            </a:r>
            <a:endParaRPr lang="en-GB" sz="2800" b="1" dirty="0" smtClean="0">
              <a:solidFill>
                <a:srgbClr val="FFC000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 flipH="1">
            <a:off x="738189" y="2412479"/>
            <a:ext cx="8784975" cy="3672408"/>
            <a:chOff x="738188" y="2412479"/>
            <a:chExt cx="8784976" cy="3672408"/>
          </a:xfrm>
        </p:grpSpPr>
        <p:sp>
          <p:nvSpPr>
            <p:cNvPr id="10" name="Round Single Corner Rectangle 9"/>
            <p:cNvSpPr/>
            <p:nvPr/>
          </p:nvSpPr>
          <p:spPr>
            <a:xfrm>
              <a:off x="5850755" y="2412479"/>
              <a:ext cx="3672409" cy="1080120"/>
            </a:xfrm>
            <a:prstGeom prst="round1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r>
                <a:rPr lang="ar-AE" sz="1800" b="1" dirty="0" smtClean="0">
                  <a:solidFill>
                    <a:prstClr val="white"/>
                  </a:solidFill>
                </a:rPr>
                <a:t>التحفيز على التعلّم الذاتي والالتزام به</a:t>
              </a:r>
              <a:endParaRPr lang="en-US" sz="1800" b="1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Round Single Corner Rectangle 17"/>
            <p:cNvSpPr/>
            <p:nvPr/>
          </p:nvSpPr>
          <p:spPr>
            <a:xfrm>
              <a:off x="5850755" y="3708623"/>
              <a:ext cx="3672409" cy="1080120"/>
            </a:xfrm>
            <a:prstGeom prst="round1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r>
                <a:rPr lang="ar-AE" sz="1800" b="1" dirty="0" smtClean="0">
                  <a:solidFill>
                    <a:prstClr val="white"/>
                  </a:solidFill>
                </a:rPr>
                <a:t>ثقافة التعلّم المرتكز على الطالب</a:t>
              </a:r>
              <a:endParaRPr lang="en-GB" sz="1800" b="1" dirty="0">
                <a:solidFill>
                  <a:prstClr val="white"/>
                </a:solidFill>
              </a:endParaRPr>
            </a:p>
          </p:txBody>
        </p:sp>
        <p:sp>
          <p:nvSpPr>
            <p:cNvPr id="19" name="Round Single Corner Rectangle 18"/>
            <p:cNvSpPr/>
            <p:nvPr/>
          </p:nvSpPr>
          <p:spPr>
            <a:xfrm>
              <a:off x="5850755" y="5004767"/>
              <a:ext cx="3672409" cy="1080120"/>
            </a:xfrm>
            <a:prstGeom prst="round1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1"/>
              <a:r>
                <a:rPr lang="ar-AE" sz="1800" b="1" dirty="0" smtClean="0">
                  <a:solidFill>
                    <a:prstClr val="white"/>
                  </a:solidFill>
                </a:rPr>
                <a:t>قبول أصحاب العمل للتعلّم الإلكتروني</a:t>
              </a:r>
              <a:endParaRPr lang="en-GB" sz="1800" b="1" dirty="0">
                <a:solidFill>
                  <a:prstClr val="white"/>
                </a:solidFill>
              </a:endParaRPr>
            </a:p>
          </p:txBody>
        </p:sp>
        <p:sp>
          <p:nvSpPr>
            <p:cNvPr id="20" name="Round Single Corner Rectangle 19"/>
            <p:cNvSpPr/>
            <p:nvPr/>
          </p:nvSpPr>
          <p:spPr>
            <a:xfrm>
              <a:off x="738188" y="2412479"/>
              <a:ext cx="3672409" cy="1080120"/>
            </a:xfrm>
            <a:prstGeom prst="round1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AE" sz="1800" b="1" dirty="0" smtClean="0">
                  <a:solidFill>
                    <a:prstClr val="white"/>
                  </a:solidFill>
                </a:rPr>
                <a:t>قلة </a:t>
              </a:r>
              <a:r>
                <a:rPr lang="ar-SA" sz="1800" b="1" dirty="0" smtClean="0">
                  <a:solidFill>
                    <a:prstClr val="white"/>
                  </a:solidFill>
                </a:rPr>
                <a:t>مواد</a:t>
              </a:r>
              <a:r>
                <a:rPr lang="ar-AE" sz="1800" b="1" dirty="0" smtClean="0">
                  <a:solidFill>
                    <a:prstClr val="white"/>
                  </a:solidFill>
                </a:rPr>
                <a:t> التعلّم الإلكترو</a:t>
              </a:r>
              <a:r>
                <a:rPr lang="ar-SA" sz="1800" b="1" dirty="0" smtClean="0">
                  <a:solidFill>
                    <a:prstClr val="white"/>
                  </a:solidFill>
                </a:rPr>
                <a:t>ن</a:t>
              </a:r>
              <a:r>
                <a:rPr lang="ar-AE" sz="1800" b="1" dirty="0" smtClean="0">
                  <a:solidFill>
                    <a:prstClr val="white"/>
                  </a:solidFill>
                </a:rPr>
                <a:t>ي المتوفر باللغة العربية </a:t>
              </a:r>
              <a:endParaRPr lang="en-GB" sz="1800" b="1" dirty="0">
                <a:solidFill>
                  <a:prstClr val="white"/>
                </a:solidFill>
              </a:endParaRPr>
            </a:p>
          </p:txBody>
        </p:sp>
        <p:sp>
          <p:nvSpPr>
            <p:cNvPr id="21" name="Round Single Corner Rectangle 20"/>
            <p:cNvSpPr/>
            <p:nvPr/>
          </p:nvSpPr>
          <p:spPr>
            <a:xfrm>
              <a:off x="738188" y="3708623"/>
              <a:ext cx="3672409" cy="1080120"/>
            </a:xfrm>
            <a:prstGeom prst="round1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AE" sz="1800" b="1" dirty="0" smtClean="0">
                  <a:solidFill>
                    <a:prstClr val="white"/>
                  </a:solidFill>
                </a:rPr>
                <a:t>الج</a:t>
              </a:r>
              <a:r>
                <a:rPr lang="ar-SA" sz="1800" b="1" dirty="0" err="1" smtClean="0">
                  <a:solidFill>
                    <a:prstClr val="white"/>
                  </a:solidFill>
                </a:rPr>
                <a:t>اهزية</a:t>
              </a:r>
              <a:r>
                <a:rPr lang="ar-AE" sz="1800" b="1" dirty="0" smtClean="0">
                  <a:solidFill>
                    <a:prstClr val="white"/>
                  </a:solidFill>
                </a:rPr>
                <a:t> التقنية </a:t>
              </a:r>
              <a:endParaRPr lang="en-GB" sz="1800" b="1" dirty="0">
                <a:solidFill>
                  <a:prstClr val="white"/>
                </a:solidFill>
              </a:endParaRPr>
            </a:p>
          </p:txBody>
        </p:sp>
        <p:sp>
          <p:nvSpPr>
            <p:cNvPr id="22" name="Round Single Corner Rectangle 21"/>
            <p:cNvSpPr/>
            <p:nvPr/>
          </p:nvSpPr>
          <p:spPr>
            <a:xfrm>
              <a:off x="738188" y="5004767"/>
              <a:ext cx="3672409" cy="1080120"/>
            </a:xfrm>
            <a:prstGeom prst="round1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ar-AE" sz="1800" b="1" dirty="0" smtClean="0">
                  <a:solidFill>
                    <a:prstClr val="white"/>
                  </a:solidFill>
                </a:rPr>
                <a:t>النفاذ إلى الإنترنت</a:t>
              </a:r>
              <a:endParaRPr lang="en-GB" sz="1800" b="1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584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898428" y="3204567"/>
            <a:ext cx="5040560" cy="1473428"/>
          </a:xfrm>
          <a:prstGeom prst="rect">
            <a:avLst/>
          </a:prstGeom>
        </p:spPr>
        <p:txBody>
          <a:bodyPr vert="horz" lIns="104287" tIns="52144" rIns="104287" bIns="52144" rtlCol="0" anchor="ctr">
            <a:noAutofit/>
          </a:bodyPr>
          <a:lstStyle>
            <a:lvl1pPr algn="ctr" defTabSz="1043056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1"/>
            <a:r>
              <a:rPr lang="ar-AE" sz="4400" dirty="0" smtClean="0">
                <a:solidFill>
                  <a:prstClr val="white"/>
                </a:solidFill>
              </a:rPr>
              <a:t>دور صندوق تنمية الموارد البشرية في التشجيع على التعلّم الإلكتروني في المملكة</a:t>
            </a:r>
            <a:endParaRPr lang="en-GB" sz="4400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439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0qmOiAYUeRsBKmqEHKiw"/>
  <p:tag name="DRAFTSHAPETAG" val="DRAFTSHAPETA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Fixed Logo v.2"/>
  <p:tag name="SMARTREAD" val="{@BusinessUnitCoverText}"/>
  <p:tag name="SMARTWRITE" val="{@BusinessUnitCoverText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Fixed Logo v.2"/>
  <p:tag name="SMARTLINKEDSHAPEID" val="SideBa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Fixed Logo v.2"/>
  <p:tag name="SMARTLINKEDSHAPEID" val="SideBa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Fixed Logo v.2"/>
  <p:tag name="SMARTLINKEDSHAPEID" val="SideBa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Confidentiality stamp Colour v.2"/>
  <p:tag name="SMARTREAD" val="{@Confidentiality stamp}"/>
  <p:tag name="SMARTWRITE" val="{@Confidentiality stamp}"/>
  <p:tag name="SMARTLINKEDSHAPEID" val="SideBa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  <p:tag name="SMARTLINKEDSHAPEID" val="SideBa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  <p:tag name="SMARTLINKEDSHAPEID" val="SideBa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  <p:tag name="SMARTLINKEDSHAPEID" val="SideBa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Fixed Logo v.2"/>
  <p:tag name="SMARTREAD" val="{@BusinessUnitCoverText}"/>
  <p:tag name="SMARTWRITE" val="{@BusinessUnitCoverText}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Fixed Logo v.2"/>
  <p:tag name="SMARTLINKEDSHAPEID" val="SideBa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Fixed Logo v.2"/>
  <p:tag name="SMARTLINKEDSHAPEID" val="SideBa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Fixed Logo v.2"/>
  <p:tag name="SMARTLINKEDSHAPEID" val="SideBa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Confidentiality stamp Colour v.2"/>
  <p:tag name="SMARTREAD" val="{@Confidentiality stamp}"/>
  <p:tag name="SMARTWRITE" val="{@Confidentiality stamp}"/>
  <p:tag name="SMARTLINKEDSHAPEID" val="SideBar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  <p:tag name="SMARTLINKEDSHAPEID" val="SideBa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  <p:tag name="SMARTLINKEDSHAPEID" val="SideBa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READ" val="{@BusinessUnitCoverText}"/>
  <p:tag name="SMARTWRITE" val="{@BusinessUnitCoverText}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Fixed Logo v.2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Fixed Logo v.2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Fixed Logo v.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Fixed Logo v.2"/>
  <p:tag name="SMARTREAD" val="{@BusinessUnitCoverText}"/>
  <p:tag name="SMARTWRITE" val="{@BusinessUnitCoverText}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.Ulh70xkinpkAuCeLTE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PtjnT8qkyJZ1Mh6f9Ct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agBUX.TkarZUVS_ZdQ2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7hrCdsC0Oexc5Q3nDK6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vQppNFwEGcwy4DFtxmw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5VR4Y8AUifUC6D7KoDR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IzNkJ20Ua5XKMyLP3CA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rrOEZeckGBJm2uxkBtm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I4C.behUC9jPvPySoe7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FLnvQCJ0mtEP27m1D0g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MGQWRnvkaeIGwTtUESk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1ab0L09UKh_CAeEL1MR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.Ulh70xkinpkAuCeLTEg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PtjnT8qkyJZ1Mh6f9Ct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.Ulh70xkinpkAuCeLTE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PtjnT8qkyJZ1Mh6f9Ct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.Ulh70xkinpkAuCeLTE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PtjnT8qkyJZ1Mh6f9C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ENGTH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Large Title and Subtitle v.2"/>
  <p:tag name="SMARTLINKEDSHAPEID" val="SideBa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Large Title and Subtitle v.2"/>
  <p:tag name="SMARTLINKEDSHAPEID" val="SideBa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Large Title and Subtitle v.2"/>
  <p:tag name="SMARTLINKEDSHAPEID" val="SideBa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Executive Summary}"/>
  <p:tag name="SMARTISVISIBLE" val="{$Show Executive Summary} = Yes"/>
  <p:tag name="SMARTLOCKSHAPE" val="Yes"/>
  <p:tag name="SMARTOBJECT" val="Executive Summary v.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3 Proposal Report">
  <a:themeElements>
    <a:clrScheme name="PwC Red">
      <a:dk1>
        <a:srgbClr val="000000"/>
      </a:dk1>
      <a:lt1>
        <a:srgbClr val="FFFFFF"/>
      </a:lt1>
      <a:dk2>
        <a:srgbClr val="E0301E"/>
      </a:dk2>
      <a:lt2>
        <a:srgbClr val="FFFFFF"/>
      </a:lt2>
      <a:accent1>
        <a:srgbClr val="E0301E"/>
      </a:accent1>
      <a:accent2>
        <a:srgbClr val="A32020"/>
      </a:accent2>
      <a:accent3>
        <a:srgbClr val="DB536A"/>
      </a:accent3>
      <a:accent4>
        <a:srgbClr val="602320"/>
      </a:accent4>
      <a:accent5>
        <a:srgbClr val="FFB600"/>
      </a:accent5>
      <a:accent6>
        <a:srgbClr val="DC6900"/>
      </a:accent6>
      <a:hlink>
        <a:srgbClr val="E0301E"/>
      </a:hlink>
      <a:folHlink>
        <a:srgbClr val="E0301E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C0C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1_3 Proposal Report">
  <a:themeElements>
    <a:clrScheme name="PwC Red">
      <a:dk1>
        <a:srgbClr val="000000"/>
      </a:dk1>
      <a:lt1>
        <a:srgbClr val="FFFFFF"/>
      </a:lt1>
      <a:dk2>
        <a:srgbClr val="E0301E"/>
      </a:dk2>
      <a:lt2>
        <a:srgbClr val="FFFFFF"/>
      </a:lt2>
      <a:accent1>
        <a:srgbClr val="E0301E"/>
      </a:accent1>
      <a:accent2>
        <a:srgbClr val="A32020"/>
      </a:accent2>
      <a:accent3>
        <a:srgbClr val="DB536A"/>
      </a:accent3>
      <a:accent4>
        <a:srgbClr val="602320"/>
      </a:accent4>
      <a:accent5>
        <a:srgbClr val="FFB600"/>
      </a:accent5>
      <a:accent6>
        <a:srgbClr val="DC6900"/>
      </a:accent6>
      <a:hlink>
        <a:srgbClr val="E0301E"/>
      </a:hlink>
      <a:folHlink>
        <a:srgbClr val="E0301E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C0C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Consulting Proposal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C0C0C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91</TotalTime>
  <Words>899</Words>
  <Application>Microsoft Office PowerPoint</Application>
  <PresentationFormat>Custom</PresentationFormat>
  <Paragraphs>130</Paragraphs>
  <Slides>13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1</vt:i4>
      </vt:variant>
      <vt:variant>
        <vt:lpstr>Slide Titles</vt:lpstr>
      </vt:variant>
      <vt:variant>
        <vt:i4>13</vt:i4>
      </vt:variant>
    </vt:vector>
  </HeadingPairs>
  <TitlesOfParts>
    <vt:vector size="31" baseType="lpstr">
      <vt:lpstr>Arial Unicode MS</vt:lpstr>
      <vt:lpstr>ＭＳ Ｐゴシック</vt:lpstr>
      <vt:lpstr>Arial</vt:lpstr>
      <vt:lpstr>Calibri</vt:lpstr>
      <vt:lpstr>Georgia</vt:lpstr>
      <vt:lpstr>Times New Roman</vt:lpstr>
      <vt:lpstr>Wingdings</vt:lpstr>
      <vt:lpstr>Office Theme</vt:lpstr>
      <vt:lpstr>1_Office Theme</vt:lpstr>
      <vt:lpstr>3_Office Theme</vt:lpstr>
      <vt:lpstr>4_Office Theme</vt:lpstr>
      <vt:lpstr>5_Office Theme</vt:lpstr>
      <vt:lpstr>blank</vt:lpstr>
      <vt:lpstr>3 Proposal Report</vt:lpstr>
      <vt:lpstr>1_3 Proposal Report</vt:lpstr>
      <vt:lpstr>Consulting Proposal</vt:lpstr>
      <vt:lpstr>7_Office Theme</vt:lpstr>
      <vt:lpstr>2_Office Theme</vt:lpstr>
      <vt:lpstr>مستقبل التعلّم الإلكتروني   إبراهيم آل معيقل مدير عام صندوق تنمية الموارد البشرية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sama</dc:creator>
  <cp:lastModifiedBy>Ibrahim Al-Moaiqel</cp:lastModifiedBy>
  <cp:revision>103</cp:revision>
  <dcterms:created xsi:type="dcterms:W3CDTF">2012-11-14T08:19:53Z</dcterms:created>
  <dcterms:modified xsi:type="dcterms:W3CDTF">2013-02-06T04:29:02Z</dcterms:modified>
</cp:coreProperties>
</file>